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863" r:id="rId2"/>
    <p:sldMasterId id="2147483908" r:id="rId3"/>
    <p:sldMasterId id="2147483942" r:id="rId4"/>
    <p:sldMasterId id="2147483977" r:id="rId5"/>
  </p:sldMasterIdLst>
  <p:notesMasterIdLst>
    <p:notesMasterId r:id="rId14"/>
  </p:notesMasterIdLst>
  <p:sldIdLst>
    <p:sldId id="573" r:id="rId6"/>
    <p:sldId id="701" r:id="rId7"/>
    <p:sldId id="574" r:id="rId8"/>
    <p:sldId id="681" r:id="rId9"/>
    <p:sldId id="713" r:id="rId10"/>
    <p:sldId id="693" r:id="rId11"/>
    <p:sldId id="697" r:id="rId12"/>
    <p:sldId id="659" r:id="rId13"/>
  </p:sldIdLst>
  <p:sldSz cx="12192000" cy="6858000"/>
  <p:notesSz cx="6858000" cy="9144000"/>
  <p:embeddedFontLst>
    <p:embeddedFont>
      <p:font typeface="Corbel" panose="020B0503020204020204" pitchFamily="34" charset="0"/>
      <p:regular r:id="rId15"/>
      <p:bold r:id="rId16"/>
      <p:italic r:id="rId17"/>
      <p:boldItalic r:id="rId18"/>
    </p:embeddedFont>
    <p:embeddedFont>
      <p:font typeface="Calibri" panose="020F0502020204030204" pitchFamily="34" charset="0"/>
      <p:regular r:id="rId19"/>
      <p:bold r:id="rId20"/>
      <p:italic r:id="rId21"/>
      <p:boldItalic r:id="rId22"/>
    </p:embeddedFont>
    <p:embeddedFont>
      <p:font typeface="B Yekan" panose="00000400000000000000" pitchFamily="2" charset="-78"/>
      <p:regular r:id="rId23"/>
    </p:embeddedFont>
    <p:embeddedFont>
      <p:font typeface="宋体" panose="02010600030101010101" pitchFamily="2" charset="-122"/>
      <p:regular r:id="rId24"/>
    </p:embeddedFont>
    <p:embeddedFont>
      <p:font typeface="Calibri Light" panose="020F0302020204030204" pitchFamily="34" charset="0"/>
      <p:regular r:id="rId25"/>
      <p:italic r:id="rId26"/>
    </p:embeddedFont>
    <p:embeddedFont>
      <p:font typeface="Arial Unicode MS" panose="020B0604020202020204" pitchFamily="34" charset="-128"/>
      <p:regular r:id="rId27"/>
    </p:embeddedFont>
    <p:embeddedFont>
      <p:font typeface="Lato Bold" panose="020B0604020202020204" charset="0"/>
      <p:bold r:id="rId28"/>
    </p:embeddedFont>
    <p:embeddedFont>
      <p:font typeface="B Nazanin" panose="00000400000000000000" pitchFamily="2" charset="-78"/>
      <p:regular r:id="rId29"/>
      <p:bold r:id="rId30"/>
    </p:embeddedFont>
  </p:embeddedFontLst>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064" userDrawn="1">
          <p15:clr>
            <a:srgbClr val="A4A3A4"/>
          </p15:clr>
        </p15:guide>
        <p15:guide id="2" pos="38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6699"/>
    <a:srgbClr val="00865D"/>
    <a:srgbClr val="FF3399"/>
    <a:srgbClr val="FF6600"/>
    <a:srgbClr val="B0FF69"/>
    <a:srgbClr val="FDB5EA"/>
    <a:srgbClr val="CDCDCD"/>
    <a:srgbClr val="D1FFA7"/>
    <a:srgbClr val="C6FF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2701" autoAdjust="0"/>
  </p:normalViewPr>
  <p:slideViewPr>
    <p:cSldViewPr snapToGrid="0">
      <p:cViewPr varScale="1">
        <p:scale>
          <a:sx n="82" d="100"/>
          <a:sy n="82" d="100"/>
        </p:scale>
        <p:origin x="-726" y="-96"/>
      </p:cViewPr>
      <p:guideLst>
        <p:guide orient="horz" pos="2064"/>
        <p:guide pos="3864"/>
      </p:guideLst>
    </p:cSldViewPr>
  </p:slideViewPr>
  <p:outlineViewPr>
    <p:cViewPr>
      <p:scale>
        <a:sx n="33" d="100"/>
        <a:sy n="33" d="100"/>
      </p:scale>
      <p:origin x="0" y="-66"/>
    </p:cViewPr>
  </p:outlineViewPr>
  <p:notesTextViewPr>
    <p:cViewPr>
      <p:scale>
        <a:sx n="1" d="1"/>
        <a:sy n="1" d="1"/>
      </p:scale>
      <p:origin x="0" y="0"/>
    </p:cViewPr>
  </p:notesTextViewPr>
  <p:sorterViewPr>
    <p:cViewPr>
      <p:scale>
        <a:sx n="30" d="100"/>
        <a:sy n="30" d="100"/>
      </p:scale>
      <p:origin x="0" y="-48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slideMaster" Target="slideMasters/slideMaster3.xml"/><Relationship Id="rId21" Type="http://schemas.openxmlformats.org/officeDocument/2006/relationships/font" Target="fonts/font7.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3.fntdata"/><Relationship Id="rId25" Type="http://schemas.openxmlformats.org/officeDocument/2006/relationships/font" Target="fonts/font11.fntdata"/><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font" Target="fonts/font15.fntdata"/><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0.fntdata"/><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font" Target="fonts/font14.fntdata"/><Relationship Id="rId10" Type="http://schemas.openxmlformats.org/officeDocument/2006/relationships/slide" Target="slides/slide5.xml"/><Relationship Id="rId19" Type="http://schemas.openxmlformats.org/officeDocument/2006/relationships/font" Target="fonts/font5.fntdata"/><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font" Target="fonts/font13.fntdata"/><Relationship Id="rId30" Type="http://schemas.openxmlformats.org/officeDocument/2006/relationships/font" Target="fonts/font16.fntdata"/><Relationship Id="rId35" Type="http://schemas.openxmlformats.org/officeDocument/2006/relationships/tableStyles" Target="tableStyles.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CCC59C-A149-4D7D-96D1-63EB88F2674C}" type="datetimeFigureOut">
              <a:rPr lang="en-US" smtClean="0"/>
              <a:pPr/>
              <a:t>9/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7B52FE-4BDD-4AF2-88FE-2B176C243DD5}" type="slidenum">
              <a:rPr lang="en-US" smtClean="0"/>
              <a:pPr/>
              <a:t>‹#›</a:t>
            </a:fld>
            <a:endParaRPr lang="en-US"/>
          </a:p>
        </p:txBody>
      </p:sp>
    </p:spTree>
    <p:extLst>
      <p:ext uri="{BB962C8B-B14F-4D97-AF65-F5344CB8AC3E}">
        <p14:creationId xmlns:p14="http://schemas.microsoft.com/office/powerpoint/2010/main" val="32029091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7B52FE-4BDD-4AF2-88FE-2B176C243DD5}" type="slidenum">
              <a:rPr lang="en-US" smtClean="0"/>
              <a:pPr/>
              <a:t>3</a:t>
            </a:fld>
            <a:endParaRPr lang="en-US"/>
          </a:p>
        </p:txBody>
      </p:sp>
    </p:spTree>
    <p:extLst>
      <p:ext uri="{BB962C8B-B14F-4D97-AF65-F5344CB8AC3E}">
        <p14:creationId xmlns:p14="http://schemas.microsoft.com/office/powerpoint/2010/main" val="4110311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slidepowerpoint.ir</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4988B4-7B2A-42C5-9B63-043FD2A20B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493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CC47C69-22BC-405B-8E87-FECE110BE624}"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2977234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CC47C69-22BC-405B-8E87-FECE110BE624}"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50154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CC47C69-22BC-405B-8E87-FECE110BE624}"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2021795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sp>
        <p:nvSpPr>
          <p:cNvPr id="3" name="Rectangle 2"/>
          <p:cNvSpPr/>
          <p:nvPr userDrawn="1"/>
        </p:nvSpPr>
        <p:spPr>
          <a:xfrm>
            <a:off x="11160410" y="6021754"/>
            <a:ext cx="731290" cy="646331"/>
          </a:xfrm>
          <a:prstGeom prst="rect">
            <a:avLst/>
          </a:prstGeom>
        </p:spPr>
        <p:txBody>
          <a:bodyPr wrap="none">
            <a:spAutoFit/>
          </a:bodyPr>
          <a:lstStyle/>
          <a:p>
            <a:fld id="{C7C71010-677A-489C-BB3F-CA8EBC4C3264}" type="slidenum">
              <a:rPr lang="id-ID" sz="3600" b="1" i="0" smtClean="0">
                <a:solidFill>
                  <a:schemeClr val="bg1">
                    <a:lumMod val="75000"/>
                  </a:schemeClr>
                </a:solidFill>
                <a:latin typeface="Lato Bold" panose="020F0802020204030203" pitchFamily="34" charset="0"/>
                <a:ea typeface="Poppins" charset="0"/>
                <a:cs typeface="Poppins" charset="0"/>
              </a:rPr>
              <a:pPr/>
              <a:t>‹#›</a:t>
            </a:fld>
            <a:endParaRPr lang="en-US" sz="4800" b="1" dirty="0">
              <a:solidFill>
                <a:schemeClr val="bg1">
                  <a:lumMod val="75000"/>
                </a:schemeClr>
              </a:solidFill>
              <a:latin typeface="Lato Bold" panose="020F0802020204030203" pitchFamily="34" charset="0"/>
            </a:endParaRPr>
          </a:p>
        </p:txBody>
      </p:sp>
    </p:spTree>
    <p:extLst>
      <p:ext uri="{BB962C8B-B14F-4D97-AF65-F5344CB8AC3E}">
        <p14:creationId xmlns:p14="http://schemas.microsoft.com/office/powerpoint/2010/main" val="6679458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p:nvSpPr>
        <p:spPr>
          <a:xfrm>
            <a:off x="1" y="3886200"/>
            <a:ext cx="12192000" cy="2971800"/>
          </a:xfrm>
          <a:prstGeom prst="rect">
            <a:avLst/>
          </a:prstGeom>
          <a:gradFill flip="none" rotWithShape="1">
            <a:gsLst>
              <a:gs pos="100000">
                <a:schemeClr val="bg1">
                  <a:lumMod val="65000"/>
                  <a:alpha val="53000"/>
                </a:schemeClr>
              </a:gs>
              <a:gs pos="0">
                <a:schemeClr val="bg1">
                  <a:lumMod val="9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a:endParaRPr lang="en-US" sz="1800">
              <a:solidFill>
                <a:prstClr val="white"/>
              </a:solidFill>
            </a:endParaRPr>
          </a:p>
        </p:txBody>
      </p:sp>
      <p:sp>
        <p:nvSpPr>
          <p:cNvPr id="2" name="Title 1"/>
          <p:cNvSpPr>
            <a:spLocks noGrp="1"/>
          </p:cNvSpPr>
          <p:nvPr>
            <p:ph type="ctrTitle"/>
          </p:nvPr>
        </p:nvSpPr>
        <p:spPr>
          <a:xfrm>
            <a:off x="914401" y="3887117"/>
            <a:ext cx="10363200" cy="610820"/>
          </a:xfrm>
        </p:spPr>
        <p:txBody>
          <a:bodyPr/>
          <a:lstStyle>
            <a:lvl1pPr algn="ctr">
              <a:defRPr lang="en-US" sz="4000" kern="1200" smtClean="0">
                <a:solidFill>
                  <a:schemeClr val="tx1">
                    <a:lumMod val="75000"/>
                    <a:lumOff val="25000"/>
                  </a:schemeClr>
                </a:solidFill>
                <a:latin typeface="+mj-lt"/>
                <a:ea typeface="+mj-ea"/>
                <a:cs typeface="+mj-cs"/>
              </a:defRPr>
            </a:lvl1pPr>
          </a:lstStyle>
          <a:p>
            <a:r>
              <a:rPr lang="en-US"/>
              <a:t>Click to edit Master title style</a:t>
            </a:r>
          </a:p>
        </p:txBody>
      </p:sp>
      <p:sp>
        <p:nvSpPr>
          <p:cNvPr id="3" name="Subtitle 2"/>
          <p:cNvSpPr>
            <a:spLocks noGrp="1"/>
          </p:cNvSpPr>
          <p:nvPr>
            <p:ph type="subTitle" idx="1"/>
          </p:nvPr>
        </p:nvSpPr>
        <p:spPr>
          <a:xfrm>
            <a:off x="1828800" y="4399020"/>
            <a:ext cx="8534401" cy="764440"/>
          </a:xfrm>
        </p:spPr>
        <p:txBody>
          <a:bodyPr>
            <a:normAutofit/>
          </a:bodyPr>
          <a:lstStyle>
            <a:lvl1pPr marL="0" indent="0" algn="ctr">
              <a:buNone/>
              <a:defRPr lang="en-US" sz="2400" kern="1200" smtClean="0">
                <a:solidFill>
                  <a:schemeClr val="tx1">
                    <a:lumMod val="65000"/>
                    <a:lumOff val="35000"/>
                  </a:schemeClr>
                </a:solidFill>
                <a:latin typeface="+mj-lt"/>
                <a:ea typeface="+mj-ea"/>
                <a:cs typeface="+mj-cs"/>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1028083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4147414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0537201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53959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2212242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pPr/>
              <a:t>9/2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6216517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580995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CC47C69-22BC-405B-8E87-FECE110BE624}"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1875118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887579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pPr/>
              <a:t>9/2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720382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5457130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6995369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2305075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6091905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9010804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939B1FA-81F2-4940-9AF3-5EAFB5D6669B}" type="slidenum">
              <a:rPr lang="en-US" smtClean="0"/>
              <a:pPr/>
              <a:t>‹#›</a:t>
            </a:fld>
            <a:endParaRPr lang="en-US"/>
          </a:p>
        </p:txBody>
      </p:sp>
      <p:sp>
        <p:nvSpPr>
          <p:cNvPr id="6" name="Title 1"/>
          <p:cNvSpPr>
            <a:spLocks noGrp="1"/>
          </p:cNvSpPr>
          <p:nvPr>
            <p:ph type="title"/>
          </p:nvPr>
        </p:nvSpPr>
        <p:spPr>
          <a:xfrm>
            <a:off x="609600" y="274641"/>
            <a:ext cx="10972801" cy="715961"/>
          </a:xfrm>
        </p:spPr>
        <p:txBody>
          <a:bodyPr>
            <a:normAutofit/>
          </a:bodyPr>
          <a:lstStyle>
            <a:lvl1pPr algn="l">
              <a:defRPr sz="3700">
                <a:solidFill>
                  <a:schemeClr val="accent6"/>
                </a:solidFill>
              </a:defRPr>
            </a:lvl1pPr>
          </a:lstStyle>
          <a:p>
            <a:r>
              <a:rPr lang="en-US" dirty="0"/>
              <a:t>Click to edit Master title style</a:t>
            </a:r>
          </a:p>
        </p:txBody>
      </p:sp>
      <p:sp>
        <p:nvSpPr>
          <p:cNvPr id="7" name="Text Placeholder 9"/>
          <p:cNvSpPr>
            <a:spLocks noGrp="1"/>
          </p:cNvSpPr>
          <p:nvPr>
            <p:ph type="body" sz="quarter" idx="13" hasCustomPrompt="1"/>
          </p:nvPr>
        </p:nvSpPr>
        <p:spPr>
          <a:xfrm>
            <a:off x="609600" y="990600"/>
            <a:ext cx="10972801" cy="508000"/>
          </a:xfrm>
        </p:spPr>
        <p:txBody>
          <a:bodyPr>
            <a:noAutofit/>
          </a:bodyPr>
          <a:lstStyle>
            <a:lvl1pPr marL="0" indent="0">
              <a:buNone/>
              <a:defRPr sz="1900">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165666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B494D4A5-F03E-4980-A019-AA27194815FC}"/>
              </a:ext>
            </a:extLst>
          </p:cNvPr>
          <p:cNvPicPr>
            <a:picLocks noChangeAspect="1"/>
          </p:cNvPicPr>
          <p:nvPr userDrawn="1"/>
        </p:nvPicPr>
        <p:blipFill rotWithShape="1">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184" b="184"/>
          <a:stretch/>
        </p:blipFill>
        <p:spPr>
          <a:xfrm>
            <a:off x="-1" y="0"/>
            <a:ext cx="12192001" cy="6858000"/>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245"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62" y="1623"/>
                        <a:ext cx="2159" cy="1619"/>
                      </a:xfrm>
                      <a:prstGeom prst="rect">
                        <a:avLst/>
                      </a:prstGeom>
                    </p:spPr>
                  </p:pic>
                </p:oleObj>
              </mc:Fallback>
            </mc:AlternateContent>
          </a:graphicData>
        </a:graphic>
      </p:graphicFrame>
      <p:sp>
        <p:nvSpPr>
          <p:cNvPr id="57" name="Document type" hidden="1"/>
          <p:cNvSpPr txBox="1">
            <a:spLocks noChangeArrowheads="1"/>
          </p:cNvSpPr>
          <p:nvPr userDrawn="1"/>
        </p:nvSpPr>
        <p:spPr bwMode="auto">
          <a:xfrm>
            <a:off x="595162" y="1858542"/>
            <a:ext cx="69089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0" baseline="0" dirty="0">
                <a:solidFill>
                  <a:schemeClr val="tx1"/>
                </a:solidFill>
                <a:latin typeface="+mn-lt"/>
              </a:rPr>
              <a:t>Document type | Date</a:t>
            </a:r>
          </a:p>
        </p:txBody>
      </p:sp>
      <p:sp>
        <p:nvSpPr>
          <p:cNvPr id="45" name="Freeform: Shape 44">
            <a:extLst>
              <a:ext uri="{FF2B5EF4-FFF2-40B4-BE49-F238E27FC236}">
                <a16:creationId xmlns:a16="http://schemas.microsoft.com/office/drawing/2014/main" xmlns="" id="{7C010C59-D0F4-4FE8-88B7-4FF5E14B067C}"/>
              </a:ext>
            </a:extLst>
          </p:cNvPr>
          <p:cNvSpPr/>
          <p:nvPr userDrawn="1"/>
        </p:nvSpPr>
        <p:spPr>
          <a:xfrm>
            <a:off x="0" y="0"/>
            <a:ext cx="12192000" cy="6858000"/>
          </a:xfrm>
          <a:custGeom>
            <a:avLst/>
            <a:gdLst>
              <a:gd name="connsiteX0" fmla="*/ 1429139 w 12192000"/>
              <a:gd name="connsiteY0" fmla="*/ 6161467 h 6858000"/>
              <a:gd name="connsiteX1" fmla="*/ 1102568 w 12192000"/>
              <a:gd name="connsiteY1" fmla="*/ 6488038 h 6858000"/>
              <a:gd name="connsiteX2" fmla="*/ 1429139 w 12192000"/>
              <a:gd name="connsiteY2" fmla="*/ 6814609 h 6858000"/>
              <a:gd name="connsiteX3" fmla="*/ 1755710 w 12192000"/>
              <a:gd name="connsiteY3" fmla="*/ 6488038 h 6858000"/>
              <a:gd name="connsiteX4" fmla="*/ 1429139 w 12192000"/>
              <a:gd name="connsiteY4" fmla="*/ 6161467 h 6858000"/>
              <a:gd name="connsiteX5" fmla="*/ 8162314 w 12192000"/>
              <a:gd name="connsiteY5" fmla="*/ 5649061 h 6858000"/>
              <a:gd name="connsiteX6" fmla="*/ 8036905 w 12192000"/>
              <a:gd name="connsiteY6" fmla="*/ 5701007 h 6858000"/>
              <a:gd name="connsiteX7" fmla="*/ 7335995 w 12192000"/>
              <a:gd name="connsiteY7" fmla="*/ 6401917 h 6858000"/>
              <a:gd name="connsiteX8" fmla="*/ 7335995 w 12192000"/>
              <a:gd name="connsiteY8" fmla="*/ 6652735 h 6858000"/>
              <a:gd name="connsiteX9" fmla="*/ 7357954 w 12192000"/>
              <a:gd name="connsiteY9" fmla="*/ 6674694 h 6858000"/>
              <a:gd name="connsiteX10" fmla="*/ 7608772 w 12192000"/>
              <a:gd name="connsiteY10" fmla="*/ 6674694 h 6858000"/>
              <a:gd name="connsiteX11" fmla="*/ 8309682 w 12192000"/>
              <a:gd name="connsiteY11" fmla="*/ 5973784 h 6858000"/>
              <a:gd name="connsiteX12" fmla="*/ 8309682 w 12192000"/>
              <a:gd name="connsiteY12" fmla="*/ 5722966 h 6858000"/>
              <a:gd name="connsiteX13" fmla="*/ 8287723 w 12192000"/>
              <a:gd name="connsiteY13" fmla="*/ 5701007 h 6858000"/>
              <a:gd name="connsiteX14" fmla="*/ 8162314 w 12192000"/>
              <a:gd name="connsiteY14" fmla="*/ 5649061 h 6858000"/>
              <a:gd name="connsiteX15" fmla="*/ 899628 w 12192000"/>
              <a:gd name="connsiteY15" fmla="*/ 5446562 h 6858000"/>
              <a:gd name="connsiteX16" fmla="*/ 573057 w 12192000"/>
              <a:gd name="connsiteY16" fmla="*/ 5773133 h 6858000"/>
              <a:gd name="connsiteX17" fmla="*/ 899628 w 12192000"/>
              <a:gd name="connsiteY17" fmla="*/ 6099704 h 6858000"/>
              <a:gd name="connsiteX18" fmla="*/ 1226199 w 12192000"/>
              <a:gd name="connsiteY18" fmla="*/ 5773133 h 6858000"/>
              <a:gd name="connsiteX19" fmla="*/ 899628 w 12192000"/>
              <a:gd name="connsiteY19" fmla="*/ 5446562 h 6858000"/>
              <a:gd name="connsiteX20" fmla="*/ 370117 w 12192000"/>
              <a:gd name="connsiteY20" fmla="*/ 4731656 h 6858000"/>
              <a:gd name="connsiteX21" fmla="*/ 43547 w 12192000"/>
              <a:gd name="connsiteY21" fmla="*/ 5058227 h 6858000"/>
              <a:gd name="connsiteX22" fmla="*/ 370117 w 12192000"/>
              <a:gd name="connsiteY22" fmla="*/ 5384798 h 6858000"/>
              <a:gd name="connsiteX23" fmla="*/ 696689 w 12192000"/>
              <a:gd name="connsiteY23" fmla="*/ 5058227 h 6858000"/>
              <a:gd name="connsiteX24" fmla="*/ 370117 w 12192000"/>
              <a:gd name="connsiteY24" fmla="*/ 4731656 h 6858000"/>
              <a:gd name="connsiteX25" fmla="*/ 8139025 w 12192000"/>
              <a:gd name="connsiteY25" fmla="*/ 4569563 h 6858000"/>
              <a:gd name="connsiteX26" fmla="*/ 8013616 w 12192000"/>
              <a:gd name="connsiteY26" fmla="*/ 4621508 h 6858000"/>
              <a:gd name="connsiteX27" fmla="*/ 6236292 w 12192000"/>
              <a:gd name="connsiteY27" fmla="*/ 6398833 h 6858000"/>
              <a:gd name="connsiteX28" fmla="*/ 6236292 w 12192000"/>
              <a:gd name="connsiteY28" fmla="*/ 6649651 h 6858000"/>
              <a:gd name="connsiteX29" fmla="*/ 6258251 w 12192000"/>
              <a:gd name="connsiteY29" fmla="*/ 6671610 h 6858000"/>
              <a:gd name="connsiteX30" fmla="*/ 6509069 w 12192000"/>
              <a:gd name="connsiteY30" fmla="*/ 6671610 h 6858000"/>
              <a:gd name="connsiteX31" fmla="*/ 8286393 w 12192000"/>
              <a:gd name="connsiteY31" fmla="*/ 4894285 h 6858000"/>
              <a:gd name="connsiteX32" fmla="*/ 8286393 w 12192000"/>
              <a:gd name="connsiteY32" fmla="*/ 4643467 h 6858000"/>
              <a:gd name="connsiteX33" fmla="*/ 8264434 w 12192000"/>
              <a:gd name="connsiteY33" fmla="*/ 4621508 h 6858000"/>
              <a:gd name="connsiteX34" fmla="*/ 8139025 w 12192000"/>
              <a:gd name="connsiteY34" fmla="*/ 4569563 h 6858000"/>
              <a:gd name="connsiteX35" fmla="*/ 7618325 w 12192000"/>
              <a:gd name="connsiteY35" fmla="*/ 3939483 h 6858000"/>
              <a:gd name="connsiteX36" fmla="*/ 7492916 w 12192000"/>
              <a:gd name="connsiteY36" fmla="*/ 3991429 h 6858000"/>
              <a:gd name="connsiteX37" fmla="*/ 5016683 w 12192000"/>
              <a:gd name="connsiteY37" fmla="*/ 6467663 h 6858000"/>
              <a:gd name="connsiteX38" fmla="*/ 5016683 w 12192000"/>
              <a:gd name="connsiteY38" fmla="*/ 6718481 h 6858000"/>
              <a:gd name="connsiteX39" fmla="*/ 5038642 w 12192000"/>
              <a:gd name="connsiteY39" fmla="*/ 6740440 h 6858000"/>
              <a:gd name="connsiteX40" fmla="*/ 5289460 w 12192000"/>
              <a:gd name="connsiteY40" fmla="*/ 6740440 h 6858000"/>
              <a:gd name="connsiteX41" fmla="*/ 7765693 w 12192000"/>
              <a:gd name="connsiteY41" fmla="*/ 4264206 h 6858000"/>
              <a:gd name="connsiteX42" fmla="*/ 7765693 w 12192000"/>
              <a:gd name="connsiteY42" fmla="*/ 4013388 h 6858000"/>
              <a:gd name="connsiteX43" fmla="*/ 7743734 w 12192000"/>
              <a:gd name="connsiteY43" fmla="*/ 3991429 h 6858000"/>
              <a:gd name="connsiteX44" fmla="*/ 7618325 w 12192000"/>
              <a:gd name="connsiteY44" fmla="*/ 3939483 h 6858000"/>
              <a:gd name="connsiteX45" fmla="*/ 10089754 w 12192000"/>
              <a:gd name="connsiteY45" fmla="*/ 3704146 h 6858000"/>
              <a:gd name="connsiteX46" fmla="*/ 9964345 w 12192000"/>
              <a:gd name="connsiteY46" fmla="*/ 3756091 h 6858000"/>
              <a:gd name="connsiteX47" fmla="*/ 8460165 w 12192000"/>
              <a:gd name="connsiteY47" fmla="*/ 5260272 h 6858000"/>
              <a:gd name="connsiteX48" fmla="*/ 8460165 w 12192000"/>
              <a:gd name="connsiteY48" fmla="*/ 5511090 h 6858000"/>
              <a:gd name="connsiteX49" fmla="*/ 8482124 w 12192000"/>
              <a:gd name="connsiteY49" fmla="*/ 5533049 h 6858000"/>
              <a:gd name="connsiteX50" fmla="*/ 8732942 w 12192000"/>
              <a:gd name="connsiteY50" fmla="*/ 5533049 h 6858000"/>
              <a:gd name="connsiteX51" fmla="*/ 10237122 w 12192000"/>
              <a:gd name="connsiteY51" fmla="*/ 4028868 h 6858000"/>
              <a:gd name="connsiteX52" fmla="*/ 10237122 w 12192000"/>
              <a:gd name="connsiteY52" fmla="*/ 3778051 h 6858000"/>
              <a:gd name="connsiteX53" fmla="*/ 10215163 w 12192000"/>
              <a:gd name="connsiteY53" fmla="*/ 3756091 h 6858000"/>
              <a:gd name="connsiteX54" fmla="*/ 10089754 w 12192000"/>
              <a:gd name="connsiteY54" fmla="*/ 3704146 h 6858000"/>
              <a:gd name="connsiteX55" fmla="*/ 10041065 w 12192000"/>
              <a:gd name="connsiteY55" fmla="*/ 2624647 h 6858000"/>
              <a:gd name="connsiteX56" fmla="*/ 9915656 w 12192000"/>
              <a:gd name="connsiteY56" fmla="*/ 2676593 h 6858000"/>
              <a:gd name="connsiteX57" fmla="*/ 8411476 w 12192000"/>
              <a:gd name="connsiteY57" fmla="*/ 4180773 h 6858000"/>
              <a:gd name="connsiteX58" fmla="*/ 8411476 w 12192000"/>
              <a:gd name="connsiteY58" fmla="*/ 4431591 h 6858000"/>
              <a:gd name="connsiteX59" fmla="*/ 8433435 w 12192000"/>
              <a:gd name="connsiteY59" fmla="*/ 4453550 h 6858000"/>
              <a:gd name="connsiteX60" fmla="*/ 8684253 w 12192000"/>
              <a:gd name="connsiteY60" fmla="*/ 4453550 h 6858000"/>
              <a:gd name="connsiteX61" fmla="*/ 10188433 w 12192000"/>
              <a:gd name="connsiteY61" fmla="*/ 2949370 h 6858000"/>
              <a:gd name="connsiteX62" fmla="*/ 10188433 w 12192000"/>
              <a:gd name="connsiteY62" fmla="*/ 2698552 h 6858000"/>
              <a:gd name="connsiteX63" fmla="*/ 10166474 w 12192000"/>
              <a:gd name="connsiteY63" fmla="*/ 2676593 h 6858000"/>
              <a:gd name="connsiteX64" fmla="*/ 10041065 w 12192000"/>
              <a:gd name="connsiteY64" fmla="*/ 2624647 h 6858000"/>
              <a:gd name="connsiteX65" fmla="*/ 9520364 w 12192000"/>
              <a:gd name="connsiteY65" fmla="*/ 1994569 h 6858000"/>
              <a:gd name="connsiteX66" fmla="*/ 9394955 w 12192000"/>
              <a:gd name="connsiteY66" fmla="*/ 2046515 h 6858000"/>
              <a:gd name="connsiteX67" fmla="*/ 7890775 w 12192000"/>
              <a:gd name="connsiteY67" fmla="*/ 3550695 h 6858000"/>
              <a:gd name="connsiteX68" fmla="*/ 7890775 w 12192000"/>
              <a:gd name="connsiteY68" fmla="*/ 3801513 h 6858000"/>
              <a:gd name="connsiteX69" fmla="*/ 7912734 w 12192000"/>
              <a:gd name="connsiteY69" fmla="*/ 3823472 h 6858000"/>
              <a:gd name="connsiteX70" fmla="*/ 8163552 w 12192000"/>
              <a:gd name="connsiteY70" fmla="*/ 3823472 h 6858000"/>
              <a:gd name="connsiteX71" fmla="*/ 9667732 w 12192000"/>
              <a:gd name="connsiteY71" fmla="*/ 2319292 h 6858000"/>
              <a:gd name="connsiteX72" fmla="*/ 9667732 w 12192000"/>
              <a:gd name="connsiteY72" fmla="*/ 2068475 h 6858000"/>
              <a:gd name="connsiteX73" fmla="*/ 9645773 w 12192000"/>
              <a:gd name="connsiteY73" fmla="*/ 2046515 h 6858000"/>
              <a:gd name="connsiteX74" fmla="*/ 9520364 w 12192000"/>
              <a:gd name="connsiteY74" fmla="*/ 1994569 h 6858000"/>
              <a:gd name="connsiteX75" fmla="*/ 11974643 w 12192000"/>
              <a:gd name="connsiteY75" fmla="*/ 1766977 h 6858000"/>
              <a:gd name="connsiteX76" fmla="*/ 11849234 w 12192000"/>
              <a:gd name="connsiteY76" fmla="*/ 1818923 h 6858000"/>
              <a:gd name="connsiteX77" fmla="*/ 10345054 w 12192000"/>
              <a:gd name="connsiteY77" fmla="*/ 3323103 h 6858000"/>
              <a:gd name="connsiteX78" fmla="*/ 10345054 w 12192000"/>
              <a:gd name="connsiteY78" fmla="*/ 3573920 h 6858000"/>
              <a:gd name="connsiteX79" fmla="*/ 10367013 w 12192000"/>
              <a:gd name="connsiteY79" fmla="*/ 3595879 h 6858000"/>
              <a:gd name="connsiteX80" fmla="*/ 10617831 w 12192000"/>
              <a:gd name="connsiteY80" fmla="*/ 3595879 h 6858000"/>
              <a:gd name="connsiteX81" fmla="*/ 12122011 w 12192000"/>
              <a:gd name="connsiteY81" fmla="*/ 2091700 h 6858000"/>
              <a:gd name="connsiteX82" fmla="*/ 12122011 w 12192000"/>
              <a:gd name="connsiteY82" fmla="*/ 1840882 h 6858000"/>
              <a:gd name="connsiteX83" fmla="*/ 12100052 w 12192000"/>
              <a:gd name="connsiteY83" fmla="*/ 1818923 h 6858000"/>
              <a:gd name="connsiteX84" fmla="*/ 11974643 w 12192000"/>
              <a:gd name="connsiteY84" fmla="*/ 1766977 h 6858000"/>
              <a:gd name="connsiteX85" fmla="*/ 4017223 w 12192000"/>
              <a:gd name="connsiteY85" fmla="*/ 734456 h 6858000"/>
              <a:gd name="connsiteX86" fmla="*/ 3560024 w 12192000"/>
              <a:gd name="connsiteY86" fmla="*/ 1191656 h 6858000"/>
              <a:gd name="connsiteX87" fmla="*/ 4017223 w 12192000"/>
              <a:gd name="connsiteY87" fmla="*/ 1648856 h 6858000"/>
              <a:gd name="connsiteX88" fmla="*/ 4474421 w 12192000"/>
              <a:gd name="connsiteY88" fmla="*/ 1191656 h 6858000"/>
              <a:gd name="connsiteX89" fmla="*/ 5708917 w 12192000"/>
              <a:gd name="connsiteY89" fmla="*/ 734456 h 6858000"/>
              <a:gd name="connsiteX90" fmla="*/ 5251717 w 12192000"/>
              <a:gd name="connsiteY90" fmla="*/ 1191656 h 6858000"/>
              <a:gd name="connsiteX91" fmla="*/ 5708917 w 12192000"/>
              <a:gd name="connsiteY91" fmla="*/ 1648856 h 6858000"/>
              <a:gd name="connsiteX92" fmla="*/ 6166116 w 12192000"/>
              <a:gd name="connsiteY92" fmla="*/ 1191656 h 6858000"/>
              <a:gd name="connsiteX93" fmla="*/ 7400612 w 12192000"/>
              <a:gd name="connsiteY93" fmla="*/ 734455 h 6858000"/>
              <a:gd name="connsiteX94" fmla="*/ 6943412 w 12192000"/>
              <a:gd name="connsiteY94" fmla="*/ 1191656 h 6858000"/>
              <a:gd name="connsiteX95" fmla="*/ 7400612 w 12192000"/>
              <a:gd name="connsiteY95" fmla="*/ 1648856 h 6858000"/>
              <a:gd name="connsiteX96" fmla="*/ 7857812 w 12192000"/>
              <a:gd name="connsiteY96" fmla="*/ 1191656 h 6858000"/>
              <a:gd name="connsiteX97" fmla="*/ 9092308 w 12192000"/>
              <a:gd name="connsiteY97" fmla="*/ 734455 h 6858000"/>
              <a:gd name="connsiteX98" fmla="*/ 8635108 w 12192000"/>
              <a:gd name="connsiteY98" fmla="*/ 1191655 h 6858000"/>
              <a:gd name="connsiteX99" fmla="*/ 9092308 w 12192000"/>
              <a:gd name="connsiteY99" fmla="*/ 1648855 h 6858000"/>
              <a:gd name="connsiteX100" fmla="*/ 9549508 w 12192000"/>
              <a:gd name="connsiteY100" fmla="*/ 1191655 h 6858000"/>
              <a:gd name="connsiteX101" fmla="*/ 11938654 w 12192000"/>
              <a:gd name="connsiteY101" fmla="*/ 725578 h 6858000"/>
              <a:gd name="connsiteX102" fmla="*/ 11813245 w 12192000"/>
              <a:gd name="connsiteY102" fmla="*/ 777523 h 6858000"/>
              <a:gd name="connsiteX103" fmla="*/ 10309065 w 12192000"/>
              <a:gd name="connsiteY103" fmla="*/ 2281704 h 6858000"/>
              <a:gd name="connsiteX104" fmla="*/ 10309065 w 12192000"/>
              <a:gd name="connsiteY104" fmla="*/ 2532522 h 6858000"/>
              <a:gd name="connsiteX105" fmla="*/ 10331024 w 12192000"/>
              <a:gd name="connsiteY105" fmla="*/ 2554481 h 6858000"/>
              <a:gd name="connsiteX106" fmla="*/ 10581842 w 12192000"/>
              <a:gd name="connsiteY106" fmla="*/ 2554481 h 6858000"/>
              <a:gd name="connsiteX107" fmla="*/ 12086022 w 12192000"/>
              <a:gd name="connsiteY107" fmla="*/ 1050300 h 6858000"/>
              <a:gd name="connsiteX108" fmla="*/ 12086022 w 12192000"/>
              <a:gd name="connsiteY108" fmla="*/ 799483 h 6858000"/>
              <a:gd name="connsiteX109" fmla="*/ 12064063 w 12192000"/>
              <a:gd name="connsiteY109" fmla="*/ 777523 h 6858000"/>
              <a:gd name="connsiteX110" fmla="*/ 11938654 w 12192000"/>
              <a:gd name="connsiteY110" fmla="*/ 725578 h 6858000"/>
              <a:gd name="connsiteX111" fmla="*/ 11405253 w 12192000"/>
              <a:gd name="connsiteY111" fmla="*/ 57401 h 6858000"/>
              <a:gd name="connsiteX112" fmla="*/ 11279844 w 12192000"/>
              <a:gd name="connsiteY112" fmla="*/ 109347 h 6858000"/>
              <a:gd name="connsiteX113" fmla="*/ 9775664 w 12192000"/>
              <a:gd name="connsiteY113" fmla="*/ 1613528 h 6858000"/>
              <a:gd name="connsiteX114" fmla="*/ 9775664 w 12192000"/>
              <a:gd name="connsiteY114" fmla="*/ 1864346 h 6858000"/>
              <a:gd name="connsiteX115" fmla="*/ 9797623 w 12192000"/>
              <a:gd name="connsiteY115" fmla="*/ 1886305 h 6858000"/>
              <a:gd name="connsiteX116" fmla="*/ 10048441 w 12192000"/>
              <a:gd name="connsiteY116" fmla="*/ 1886305 h 6858000"/>
              <a:gd name="connsiteX117" fmla="*/ 11552621 w 12192000"/>
              <a:gd name="connsiteY117" fmla="*/ 382124 h 6858000"/>
              <a:gd name="connsiteX118" fmla="*/ 11552621 w 12192000"/>
              <a:gd name="connsiteY118" fmla="*/ 131306 h 6858000"/>
              <a:gd name="connsiteX119" fmla="*/ 11530662 w 12192000"/>
              <a:gd name="connsiteY119" fmla="*/ 109347 h 6858000"/>
              <a:gd name="connsiteX120" fmla="*/ 11405253 w 12192000"/>
              <a:gd name="connsiteY120" fmla="*/ 57401 h 6858000"/>
              <a:gd name="connsiteX121" fmla="*/ 4 w 12192000"/>
              <a:gd name="connsiteY121" fmla="*/ 2 h 6858000"/>
              <a:gd name="connsiteX122" fmla="*/ 4 w 12192000"/>
              <a:gd name="connsiteY122" fmla="*/ 3090502 h 6858000"/>
              <a:gd name="connsiteX123" fmla="*/ 3090503 w 12192000"/>
              <a:gd name="connsiteY123" fmla="*/ 2 h 6858000"/>
              <a:gd name="connsiteX124" fmla="*/ 3171376 w 12192000"/>
              <a:gd name="connsiteY124" fmla="*/ 2 h 6858000"/>
              <a:gd name="connsiteX125" fmla="*/ 2714176 w 12192000"/>
              <a:gd name="connsiteY125" fmla="*/ 457202 h 6858000"/>
              <a:gd name="connsiteX126" fmla="*/ 3171376 w 12192000"/>
              <a:gd name="connsiteY126" fmla="*/ 914402 h 6858000"/>
              <a:gd name="connsiteX127" fmla="*/ 3628576 w 12192000"/>
              <a:gd name="connsiteY127" fmla="*/ 457202 h 6858000"/>
              <a:gd name="connsiteX128" fmla="*/ 4863069 w 12192000"/>
              <a:gd name="connsiteY128" fmla="*/ 2 h 6858000"/>
              <a:gd name="connsiteX129" fmla="*/ 4405869 w 12192000"/>
              <a:gd name="connsiteY129" fmla="*/ 457202 h 6858000"/>
              <a:gd name="connsiteX130" fmla="*/ 4863069 w 12192000"/>
              <a:gd name="connsiteY130" fmla="*/ 914402 h 6858000"/>
              <a:gd name="connsiteX131" fmla="*/ 5320269 w 12192000"/>
              <a:gd name="connsiteY131" fmla="*/ 457202 h 6858000"/>
              <a:gd name="connsiteX132" fmla="*/ 6554764 w 12192000"/>
              <a:gd name="connsiteY132" fmla="*/ 2 h 6858000"/>
              <a:gd name="connsiteX133" fmla="*/ 6097564 w 12192000"/>
              <a:gd name="connsiteY133" fmla="*/ 457201 h 6858000"/>
              <a:gd name="connsiteX134" fmla="*/ 6554764 w 12192000"/>
              <a:gd name="connsiteY134" fmla="*/ 914401 h 6858000"/>
              <a:gd name="connsiteX135" fmla="*/ 7011964 w 12192000"/>
              <a:gd name="connsiteY135" fmla="*/ 457201 h 6858000"/>
              <a:gd name="connsiteX136" fmla="*/ 8246460 w 12192000"/>
              <a:gd name="connsiteY136" fmla="*/ 1 h 6858000"/>
              <a:gd name="connsiteX137" fmla="*/ 7789260 w 12192000"/>
              <a:gd name="connsiteY137" fmla="*/ 457201 h 6858000"/>
              <a:gd name="connsiteX138" fmla="*/ 8246460 w 12192000"/>
              <a:gd name="connsiteY138" fmla="*/ 914401 h 6858000"/>
              <a:gd name="connsiteX139" fmla="*/ 8703660 w 12192000"/>
              <a:gd name="connsiteY139" fmla="*/ 457201 h 6858000"/>
              <a:gd name="connsiteX140" fmla="*/ 9938152 w 12192000"/>
              <a:gd name="connsiteY140" fmla="*/ 1 h 6858000"/>
              <a:gd name="connsiteX141" fmla="*/ 9480952 w 12192000"/>
              <a:gd name="connsiteY141" fmla="*/ 457201 h 6858000"/>
              <a:gd name="connsiteX142" fmla="*/ 9938152 w 12192000"/>
              <a:gd name="connsiteY142" fmla="*/ 914401 h 6858000"/>
              <a:gd name="connsiteX143" fmla="*/ 10395352 w 12192000"/>
              <a:gd name="connsiteY143" fmla="*/ 457201 h 6858000"/>
              <a:gd name="connsiteX144" fmla="*/ 0 w 12192000"/>
              <a:gd name="connsiteY144" fmla="*/ 0 h 6858000"/>
              <a:gd name="connsiteX145" fmla="*/ 12192000 w 12192000"/>
              <a:gd name="connsiteY145" fmla="*/ 0 h 6858000"/>
              <a:gd name="connsiteX146" fmla="*/ 12192000 w 12192000"/>
              <a:gd name="connsiteY146" fmla="*/ 2431144 h 6858000"/>
              <a:gd name="connsiteX147" fmla="*/ 7765144 w 12192000"/>
              <a:gd name="connsiteY147" fmla="*/ 6858000 h 6858000"/>
              <a:gd name="connsiteX148" fmla="*/ 0 w 12192000"/>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2192000" h="6858000">
                <a:moveTo>
                  <a:pt x="1429139" y="6161467"/>
                </a:moveTo>
                <a:cubicBezTo>
                  <a:pt x="1248779" y="6161467"/>
                  <a:pt x="1102568" y="6307678"/>
                  <a:pt x="1102568" y="6488038"/>
                </a:cubicBezTo>
                <a:cubicBezTo>
                  <a:pt x="1102568" y="6668398"/>
                  <a:pt x="1248779" y="6814609"/>
                  <a:pt x="1429139" y="6814609"/>
                </a:cubicBezTo>
                <a:cubicBezTo>
                  <a:pt x="1609499" y="6814609"/>
                  <a:pt x="1755710" y="6668398"/>
                  <a:pt x="1755710" y="6488038"/>
                </a:cubicBezTo>
                <a:cubicBezTo>
                  <a:pt x="1755710" y="6307678"/>
                  <a:pt x="1609499" y="6161467"/>
                  <a:pt x="1429139" y="6161467"/>
                </a:cubicBezTo>
                <a:close/>
                <a:moveTo>
                  <a:pt x="8162314" y="5649061"/>
                </a:moveTo>
                <a:cubicBezTo>
                  <a:pt x="8116925" y="5649061"/>
                  <a:pt x="8071536" y="5666376"/>
                  <a:pt x="8036905" y="5701007"/>
                </a:cubicBezTo>
                <a:lnTo>
                  <a:pt x="7335995" y="6401917"/>
                </a:lnTo>
                <a:cubicBezTo>
                  <a:pt x="7266734" y="6471179"/>
                  <a:pt x="7266734" y="6583474"/>
                  <a:pt x="7335995" y="6652735"/>
                </a:cubicBezTo>
                <a:lnTo>
                  <a:pt x="7357954" y="6674694"/>
                </a:lnTo>
                <a:cubicBezTo>
                  <a:pt x="7427215" y="6743956"/>
                  <a:pt x="7539511" y="6743956"/>
                  <a:pt x="7608772" y="6674694"/>
                </a:cubicBezTo>
                <a:lnTo>
                  <a:pt x="8309682" y="5973784"/>
                </a:lnTo>
                <a:cubicBezTo>
                  <a:pt x="8378944" y="5904522"/>
                  <a:pt x="8378944" y="5792227"/>
                  <a:pt x="8309682" y="5722966"/>
                </a:cubicBezTo>
                <a:lnTo>
                  <a:pt x="8287723" y="5701007"/>
                </a:lnTo>
                <a:cubicBezTo>
                  <a:pt x="8253093" y="5666376"/>
                  <a:pt x="8207704" y="5649061"/>
                  <a:pt x="8162314" y="5649061"/>
                </a:cubicBezTo>
                <a:close/>
                <a:moveTo>
                  <a:pt x="899628" y="5446562"/>
                </a:moveTo>
                <a:cubicBezTo>
                  <a:pt x="719268" y="5446562"/>
                  <a:pt x="573057" y="5592773"/>
                  <a:pt x="573057" y="5773133"/>
                </a:cubicBezTo>
                <a:cubicBezTo>
                  <a:pt x="573057" y="5953493"/>
                  <a:pt x="719268" y="6099704"/>
                  <a:pt x="899628" y="6099704"/>
                </a:cubicBezTo>
                <a:cubicBezTo>
                  <a:pt x="1079988" y="6099704"/>
                  <a:pt x="1226199" y="5953493"/>
                  <a:pt x="1226199" y="5773133"/>
                </a:cubicBezTo>
                <a:cubicBezTo>
                  <a:pt x="1226199" y="5592773"/>
                  <a:pt x="1079988" y="5446562"/>
                  <a:pt x="899628" y="5446562"/>
                </a:cubicBezTo>
                <a:close/>
                <a:moveTo>
                  <a:pt x="370117" y="4731656"/>
                </a:moveTo>
                <a:cubicBezTo>
                  <a:pt x="189758" y="4731656"/>
                  <a:pt x="43547" y="4877867"/>
                  <a:pt x="43547" y="5058227"/>
                </a:cubicBezTo>
                <a:cubicBezTo>
                  <a:pt x="43547" y="5238587"/>
                  <a:pt x="189758" y="5384798"/>
                  <a:pt x="370117" y="5384798"/>
                </a:cubicBezTo>
                <a:cubicBezTo>
                  <a:pt x="550478" y="5384798"/>
                  <a:pt x="696689" y="5238587"/>
                  <a:pt x="696689" y="5058227"/>
                </a:cubicBezTo>
                <a:cubicBezTo>
                  <a:pt x="696689" y="4877867"/>
                  <a:pt x="550478" y="4731656"/>
                  <a:pt x="370117" y="4731656"/>
                </a:cubicBezTo>
                <a:close/>
                <a:moveTo>
                  <a:pt x="8139025" y="4569563"/>
                </a:moveTo>
                <a:cubicBezTo>
                  <a:pt x="8093636" y="4569563"/>
                  <a:pt x="8048247" y="4586878"/>
                  <a:pt x="8013616" y="4621508"/>
                </a:cubicBezTo>
                <a:lnTo>
                  <a:pt x="6236292" y="6398833"/>
                </a:lnTo>
                <a:cubicBezTo>
                  <a:pt x="6167031" y="6468094"/>
                  <a:pt x="6167031" y="6580390"/>
                  <a:pt x="6236292" y="6649651"/>
                </a:cubicBezTo>
                <a:lnTo>
                  <a:pt x="6258251" y="6671610"/>
                </a:lnTo>
                <a:cubicBezTo>
                  <a:pt x="6327512" y="6740871"/>
                  <a:pt x="6439808" y="6740871"/>
                  <a:pt x="6509069" y="6671610"/>
                </a:cubicBezTo>
                <a:lnTo>
                  <a:pt x="8286393" y="4894285"/>
                </a:lnTo>
                <a:cubicBezTo>
                  <a:pt x="8355654" y="4825024"/>
                  <a:pt x="8355654" y="4712728"/>
                  <a:pt x="8286393" y="4643467"/>
                </a:cubicBezTo>
                <a:lnTo>
                  <a:pt x="8264434" y="4621508"/>
                </a:lnTo>
                <a:cubicBezTo>
                  <a:pt x="8229804" y="4586878"/>
                  <a:pt x="8184415" y="4569563"/>
                  <a:pt x="8139025" y="4569563"/>
                </a:cubicBezTo>
                <a:close/>
                <a:moveTo>
                  <a:pt x="7618325" y="3939483"/>
                </a:moveTo>
                <a:cubicBezTo>
                  <a:pt x="7572936" y="3939483"/>
                  <a:pt x="7527547" y="3956798"/>
                  <a:pt x="7492916" y="3991429"/>
                </a:cubicBezTo>
                <a:lnTo>
                  <a:pt x="5016683" y="6467663"/>
                </a:lnTo>
                <a:cubicBezTo>
                  <a:pt x="4947422" y="6536924"/>
                  <a:pt x="4947422" y="6649220"/>
                  <a:pt x="5016683" y="6718481"/>
                </a:cubicBezTo>
                <a:lnTo>
                  <a:pt x="5038642" y="6740440"/>
                </a:lnTo>
                <a:cubicBezTo>
                  <a:pt x="5107903" y="6809701"/>
                  <a:pt x="5220199" y="6809701"/>
                  <a:pt x="5289460" y="6740440"/>
                </a:cubicBezTo>
                <a:lnTo>
                  <a:pt x="7765693" y="4264206"/>
                </a:lnTo>
                <a:cubicBezTo>
                  <a:pt x="7834954" y="4194945"/>
                  <a:pt x="7834954" y="4082649"/>
                  <a:pt x="7765693" y="4013388"/>
                </a:cubicBezTo>
                <a:lnTo>
                  <a:pt x="7743734" y="3991429"/>
                </a:lnTo>
                <a:cubicBezTo>
                  <a:pt x="7709103" y="3956798"/>
                  <a:pt x="7663714" y="3939483"/>
                  <a:pt x="7618325" y="3939483"/>
                </a:cubicBezTo>
                <a:close/>
                <a:moveTo>
                  <a:pt x="10089754" y="3704146"/>
                </a:moveTo>
                <a:cubicBezTo>
                  <a:pt x="10044365" y="3704146"/>
                  <a:pt x="9998976" y="3721461"/>
                  <a:pt x="9964345" y="3756091"/>
                </a:cubicBezTo>
                <a:lnTo>
                  <a:pt x="8460165" y="5260272"/>
                </a:lnTo>
                <a:cubicBezTo>
                  <a:pt x="8390903" y="5329533"/>
                  <a:pt x="8390903" y="5441829"/>
                  <a:pt x="8460165" y="5511090"/>
                </a:cubicBezTo>
                <a:lnTo>
                  <a:pt x="8482124" y="5533049"/>
                </a:lnTo>
                <a:cubicBezTo>
                  <a:pt x="8551385" y="5602310"/>
                  <a:pt x="8663680" y="5602310"/>
                  <a:pt x="8732942" y="5533049"/>
                </a:cubicBezTo>
                <a:lnTo>
                  <a:pt x="10237122" y="4028868"/>
                </a:lnTo>
                <a:cubicBezTo>
                  <a:pt x="10306384" y="3959607"/>
                  <a:pt x="10306384" y="3847312"/>
                  <a:pt x="10237122" y="3778051"/>
                </a:cubicBezTo>
                <a:lnTo>
                  <a:pt x="10215163" y="3756091"/>
                </a:lnTo>
                <a:cubicBezTo>
                  <a:pt x="10180532" y="3721461"/>
                  <a:pt x="10135144" y="3704146"/>
                  <a:pt x="10089754" y="3704146"/>
                </a:cubicBezTo>
                <a:close/>
                <a:moveTo>
                  <a:pt x="10041065" y="2624647"/>
                </a:moveTo>
                <a:cubicBezTo>
                  <a:pt x="9995676" y="2624647"/>
                  <a:pt x="9950287" y="2641962"/>
                  <a:pt x="9915656" y="2676593"/>
                </a:cubicBezTo>
                <a:lnTo>
                  <a:pt x="8411476" y="4180773"/>
                </a:lnTo>
                <a:cubicBezTo>
                  <a:pt x="8342215" y="4250034"/>
                  <a:pt x="8342215" y="4362330"/>
                  <a:pt x="8411476" y="4431591"/>
                </a:cubicBezTo>
                <a:lnTo>
                  <a:pt x="8433435" y="4453550"/>
                </a:lnTo>
                <a:cubicBezTo>
                  <a:pt x="8502696" y="4522811"/>
                  <a:pt x="8614991" y="4522811"/>
                  <a:pt x="8684253" y="4453550"/>
                </a:cubicBezTo>
                <a:lnTo>
                  <a:pt x="10188433" y="2949370"/>
                </a:lnTo>
                <a:cubicBezTo>
                  <a:pt x="10257695" y="2880109"/>
                  <a:pt x="10257695" y="2767813"/>
                  <a:pt x="10188433" y="2698552"/>
                </a:cubicBezTo>
                <a:lnTo>
                  <a:pt x="10166474" y="2676593"/>
                </a:lnTo>
                <a:cubicBezTo>
                  <a:pt x="10131844" y="2641962"/>
                  <a:pt x="10086454" y="2624647"/>
                  <a:pt x="10041065" y="2624647"/>
                </a:cubicBezTo>
                <a:close/>
                <a:moveTo>
                  <a:pt x="9520364" y="1994569"/>
                </a:moveTo>
                <a:cubicBezTo>
                  <a:pt x="9474975" y="1994569"/>
                  <a:pt x="9429586" y="2011885"/>
                  <a:pt x="9394955" y="2046515"/>
                </a:cubicBezTo>
                <a:lnTo>
                  <a:pt x="7890775" y="3550695"/>
                </a:lnTo>
                <a:cubicBezTo>
                  <a:pt x="7821514" y="3619956"/>
                  <a:pt x="7821514" y="3732252"/>
                  <a:pt x="7890775" y="3801513"/>
                </a:cubicBezTo>
                <a:lnTo>
                  <a:pt x="7912734" y="3823472"/>
                </a:lnTo>
                <a:cubicBezTo>
                  <a:pt x="7981995" y="3892733"/>
                  <a:pt x="8094291" y="3892733"/>
                  <a:pt x="8163552" y="3823472"/>
                </a:cubicBezTo>
                <a:lnTo>
                  <a:pt x="9667732" y="2319292"/>
                </a:lnTo>
                <a:cubicBezTo>
                  <a:pt x="9736994" y="2250031"/>
                  <a:pt x="9736994" y="2137735"/>
                  <a:pt x="9667732" y="2068475"/>
                </a:cubicBezTo>
                <a:lnTo>
                  <a:pt x="9645773" y="2046515"/>
                </a:lnTo>
                <a:cubicBezTo>
                  <a:pt x="9611142" y="2011885"/>
                  <a:pt x="9565753" y="1994569"/>
                  <a:pt x="9520364" y="1994569"/>
                </a:cubicBezTo>
                <a:close/>
                <a:moveTo>
                  <a:pt x="11974643" y="1766977"/>
                </a:moveTo>
                <a:cubicBezTo>
                  <a:pt x="11929254" y="1766977"/>
                  <a:pt x="11883865" y="1784292"/>
                  <a:pt x="11849234" y="1818923"/>
                </a:cubicBezTo>
                <a:lnTo>
                  <a:pt x="10345054" y="3323103"/>
                </a:lnTo>
                <a:cubicBezTo>
                  <a:pt x="10275792" y="3392364"/>
                  <a:pt x="10275792" y="3504659"/>
                  <a:pt x="10345054" y="3573920"/>
                </a:cubicBezTo>
                <a:lnTo>
                  <a:pt x="10367013" y="3595879"/>
                </a:lnTo>
                <a:cubicBezTo>
                  <a:pt x="10436274" y="3665140"/>
                  <a:pt x="10548569" y="3665140"/>
                  <a:pt x="10617831" y="3595879"/>
                </a:cubicBezTo>
                <a:lnTo>
                  <a:pt x="12122011" y="2091700"/>
                </a:lnTo>
                <a:cubicBezTo>
                  <a:pt x="12191273" y="2022439"/>
                  <a:pt x="12191273" y="1910143"/>
                  <a:pt x="12122011" y="1840882"/>
                </a:cubicBezTo>
                <a:lnTo>
                  <a:pt x="12100052" y="1818923"/>
                </a:lnTo>
                <a:cubicBezTo>
                  <a:pt x="12065422" y="1784292"/>
                  <a:pt x="12020032" y="1766977"/>
                  <a:pt x="11974643" y="1766977"/>
                </a:cubicBezTo>
                <a:close/>
                <a:moveTo>
                  <a:pt x="4017223" y="734456"/>
                </a:moveTo>
                <a:lnTo>
                  <a:pt x="3560024" y="1191656"/>
                </a:lnTo>
                <a:lnTo>
                  <a:pt x="4017223" y="1648856"/>
                </a:lnTo>
                <a:lnTo>
                  <a:pt x="4474421" y="1191656"/>
                </a:lnTo>
                <a:close/>
                <a:moveTo>
                  <a:pt x="5708917" y="734456"/>
                </a:moveTo>
                <a:lnTo>
                  <a:pt x="5251717" y="1191656"/>
                </a:lnTo>
                <a:lnTo>
                  <a:pt x="5708917" y="1648856"/>
                </a:lnTo>
                <a:lnTo>
                  <a:pt x="6166116" y="1191656"/>
                </a:lnTo>
                <a:close/>
                <a:moveTo>
                  <a:pt x="7400612" y="734455"/>
                </a:moveTo>
                <a:lnTo>
                  <a:pt x="6943412" y="1191656"/>
                </a:lnTo>
                <a:lnTo>
                  <a:pt x="7400612" y="1648856"/>
                </a:lnTo>
                <a:lnTo>
                  <a:pt x="7857812" y="1191656"/>
                </a:lnTo>
                <a:close/>
                <a:moveTo>
                  <a:pt x="9092308" y="734455"/>
                </a:moveTo>
                <a:lnTo>
                  <a:pt x="8635108" y="1191655"/>
                </a:lnTo>
                <a:lnTo>
                  <a:pt x="9092308" y="1648855"/>
                </a:lnTo>
                <a:lnTo>
                  <a:pt x="9549508" y="1191655"/>
                </a:lnTo>
                <a:close/>
                <a:moveTo>
                  <a:pt x="11938654" y="725578"/>
                </a:moveTo>
                <a:cubicBezTo>
                  <a:pt x="11893265" y="725578"/>
                  <a:pt x="11847876" y="742893"/>
                  <a:pt x="11813245" y="777523"/>
                </a:cubicBezTo>
                <a:lnTo>
                  <a:pt x="10309065" y="2281704"/>
                </a:lnTo>
                <a:cubicBezTo>
                  <a:pt x="10239803" y="2350965"/>
                  <a:pt x="10239803" y="2463261"/>
                  <a:pt x="10309065" y="2532522"/>
                </a:cubicBezTo>
                <a:lnTo>
                  <a:pt x="10331024" y="2554481"/>
                </a:lnTo>
                <a:cubicBezTo>
                  <a:pt x="10400285" y="2623742"/>
                  <a:pt x="10512580" y="2623742"/>
                  <a:pt x="10581842" y="2554481"/>
                </a:cubicBezTo>
                <a:lnTo>
                  <a:pt x="12086022" y="1050300"/>
                </a:lnTo>
                <a:cubicBezTo>
                  <a:pt x="12155284" y="981039"/>
                  <a:pt x="12155284" y="868744"/>
                  <a:pt x="12086022" y="799483"/>
                </a:cubicBezTo>
                <a:lnTo>
                  <a:pt x="12064063" y="777523"/>
                </a:lnTo>
                <a:cubicBezTo>
                  <a:pt x="12029432" y="742893"/>
                  <a:pt x="11984043" y="725578"/>
                  <a:pt x="11938654" y="725578"/>
                </a:cubicBezTo>
                <a:close/>
                <a:moveTo>
                  <a:pt x="11405253" y="57401"/>
                </a:moveTo>
                <a:cubicBezTo>
                  <a:pt x="11359864" y="57401"/>
                  <a:pt x="11314475" y="74716"/>
                  <a:pt x="11279844" y="109347"/>
                </a:cubicBezTo>
                <a:lnTo>
                  <a:pt x="9775664" y="1613528"/>
                </a:lnTo>
                <a:cubicBezTo>
                  <a:pt x="9706402" y="1682789"/>
                  <a:pt x="9706402" y="1795085"/>
                  <a:pt x="9775664" y="1864346"/>
                </a:cubicBezTo>
                <a:lnTo>
                  <a:pt x="9797623" y="1886305"/>
                </a:lnTo>
                <a:cubicBezTo>
                  <a:pt x="9866884" y="1955566"/>
                  <a:pt x="9979179" y="1955566"/>
                  <a:pt x="10048441" y="1886305"/>
                </a:cubicBezTo>
                <a:lnTo>
                  <a:pt x="11552621" y="382124"/>
                </a:lnTo>
                <a:cubicBezTo>
                  <a:pt x="11621883" y="312862"/>
                  <a:pt x="11621883" y="200567"/>
                  <a:pt x="11552621" y="131306"/>
                </a:cubicBezTo>
                <a:lnTo>
                  <a:pt x="11530662" y="109347"/>
                </a:lnTo>
                <a:cubicBezTo>
                  <a:pt x="11496032" y="74716"/>
                  <a:pt x="11450643" y="57401"/>
                  <a:pt x="11405253" y="57401"/>
                </a:cubicBezTo>
                <a:close/>
                <a:moveTo>
                  <a:pt x="4" y="2"/>
                </a:moveTo>
                <a:lnTo>
                  <a:pt x="4" y="3090502"/>
                </a:lnTo>
                <a:lnTo>
                  <a:pt x="3090503" y="2"/>
                </a:lnTo>
                <a:close/>
                <a:moveTo>
                  <a:pt x="3171376" y="2"/>
                </a:moveTo>
                <a:lnTo>
                  <a:pt x="2714176" y="457202"/>
                </a:lnTo>
                <a:lnTo>
                  <a:pt x="3171376" y="914402"/>
                </a:lnTo>
                <a:lnTo>
                  <a:pt x="3628576" y="457202"/>
                </a:lnTo>
                <a:close/>
                <a:moveTo>
                  <a:pt x="4863069" y="2"/>
                </a:moveTo>
                <a:lnTo>
                  <a:pt x="4405869" y="457202"/>
                </a:lnTo>
                <a:lnTo>
                  <a:pt x="4863069" y="914402"/>
                </a:lnTo>
                <a:lnTo>
                  <a:pt x="5320269" y="457202"/>
                </a:lnTo>
                <a:close/>
                <a:moveTo>
                  <a:pt x="6554764" y="2"/>
                </a:moveTo>
                <a:lnTo>
                  <a:pt x="6097564" y="457201"/>
                </a:lnTo>
                <a:lnTo>
                  <a:pt x="6554764" y="914401"/>
                </a:lnTo>
                <a:lnTo>
                  <a:pt x="7011964" y="457201"/>
                </a:lnTo>
                <a:close/>
                <a:moveTo>
                  <a:pt x="8246460" y="1"/>
                </a:moveTo>
                <a:lnTo>
                  <a:pt x="7789260" y="457201"/>
                </a:lnTo>
                <a:lnTo>
                  <a:pt x="8246460" y="914401"/>
                </a:lnTo>
                <a:lnTo>
                  <a:pt x="8703660" y="457201"/>
                </a:lnTo>
                <a:close/>
                <a:moveTo>
                  <a:pt x="9938152" y="1"/>
                </a:moveTo>
                <a:lnTo>
                  <a:pt x="9480952" y="457201"/>
                </a:lnTo>
                <a:lnTo>
                  <a:pt x="9938152" y="914401"/>
                </a:lnTo>
                <a:lnTo>
                  <a:pt x="10395352" y="457201"/>
                </a:lnTo>
                <a:close/>
                <a:moveTo>
                  <a:pt x="0" y="0"/>
                </a:moveTo>
                <a:lnTo>
                  <a:pt x="12192000" y="0"/>
                </a:lnTo>
                <a:lnTo>
                  <a:pt x="12192000" y="2431144"/>
                </a:lnTo>
                <a:lnTo>
                  <a:pt x="7765144" y="6858000"/>
                </a:lnTo>
                <a:lnTo>
                  <a:pt x="0" y="6858000"/>
                </a:lnTo>
                <a:close/>
              </a:path>
            </a:pathLst>
          </a:custGeom>
          <a:solidFill>
            <a:schemeClr val="accent1">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b="1" dirty="0" err="1">
              <a:solidFill>
                <a:schemeClr val="accent4"/>
              </a:solidFill>
            </a:endParaRPr>
          </a:p>
        </p:txBody>
      </p:sp>
      <p:sp>
        <p:nvSpPr>
          <p:cNvPr id="49" name="Freeform: Shape 48">
            <a:extLst>
              <a:ext uri="{FF2B5EF4-FFF2-40B4-BE49-F238E27FC236}">
                <a16:creationId xmlns:a16="http://schemas.microsoft.com/office/drawing/2014/main" xmlns="" id="{A674ABF8-EAD4-4410-8CCD-477D276B43F4}"/>
              </a:ext>
            </a:extLst>
          </p:cNvPr>
          <p:cNvSpPr/>
          <p:nvPr userDrawn="1"/>
        </p:nvSpPr>
        <p:spPr>
          <a:xfrm>
            <a:off x="-3410" y="2450947"/>
            <a:ext cx="6607408" cy="2237168"/>
          </a:xfrm>
          <a:custGeom>
            <a:avLst/>
            <a:gdLst>
              <a:gd name="connsiteX0" fmla="*/ 643965 w 6607408"/>
              <a:gd name="connsiteY0" fmla="*/ 0 h 2237168"/>
              <a:gd name="connsiteX1" fmla="*/ 6607408 w 6607408"/>
              <a:gd name="connsiteY1" fmla="*/ 0 h 2237168"/>
              <a:gd name="connsiteX2" fmla="*/ 6607408 w 6607408"/>
              <a:gd name="connsiteY2" fmla="*/ 2237167 h 2237168"/>
              <a:gd name="connsiteX3" fmla="*/ 643965 w 6607408"/>
              <a:gd name="connsiteY3" fmla="*/ 2237167 h 2237168"/>
              <a:gd name="connsiteX4" fmla="*/ 643965 w 6607408"/>
              <a:gd name="connsiteY4" fmla="*/ 2237168 h 2237168"/>
              <a:gd name="connsiteX5" fmla="*/ 7730 w 6607408"/>
              <a:gd name="connsiteY5" fmla="*/ 2237168 h 2237168"/>
              <a:gd name="connsiteX6" fmla="*/ 7730 w 6607408"/>
              <a:gd name="connsiteY6" fmla="*/ 655216 h 2237168"/>
              <a:gd name="connsiteX7" fmla="*/ 0 w 6607408"/>
              <a:gd name="connsiteY7" fmla="*/ 647509 h 2237168"/>
              <a:gd name="connsiteX8" fmla="*/ 7730 w 6607408"/>
              <a:gd name="connsiteY8" fmla="*/ 639757 h 2237168"/>
              <a:gd name="connsiteX9" fmla="*/ 7730 w 6607408"/>
              <a:gd name="connsiteY9" fmla="*/ 635076 h 2237168"/>
              <a:gd name="connsiteX10" fmla="*/ 12397 w 6607408"/>
              <a:gd name="connsiteY10" fmla="*/ 635076 h 2237168"/>
              <a:gd name="connsiteX11" fmla="*/ 643965 w 6607408"/>
              <a:gd name="connsiteY11" fmla="*/ 1687 h 22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7408" h="2237168">
                <a:moveTo>
                  <a:pt x="643965" y="0"/>
                </a:moveTo>
                <a:lnTo>
                  <a:pt x="6607408" y="0"/>
                </a:lnTo>
                <a:lnTo>
                  <a:pt x="6607408" y="2237167"/>
                </a:lnTo>
                <a:lnTo>
                  <a:pt x="643965" y="2237167"/>
                </a:lnTo>
                <a:lnTo>
                  <a:pt x="643965" y="2237168"/>
                </a:lnTo>
                <a:lnTo>
                  <a:pt x="7730" y="2237168"/>
                </a:lnTo>
                <a:lnTo>
                  <a:pt x="7730" y="655216"/>
                </a:lnTo>
                <a:lnTo>
                  <a:pt x="0" y="647509"/>
                </a:lnTo>
                <a:lnTo>
                  <a:pt x="7730" y="639757"/>
                </a:lnTo>
                <a:lnTo>
                  <a:pt x="7730" y="635076"/>
                </a:lnTo>
                <a:lnTo>
                  <a:pt x="12397" y="635076"/>
                </a:lnTo>
                <a:lnTo>
                  <a:pt x="643965" y="1687"/>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b="1" dirty="0" err="1">
              <a:solidFill>
                <a:schemeClr val="accent4"/>
              </a:solidFill>
            </a:endParaRPr>
          </a:p>
        </p:txBody>
      </p:sp>
      <p:sp>
        <p:nvSpPr>
          <p:cNvPr id="42" name="Title 1">
            <a:extLst>
              <a:ext uri="{FF2B5EF4-FFF2-40B4-BE49-F238E27FC236}">
                <a16:creationId xmlns:a16="http://schemas.microsoft.com/office/drawing/2014/main" xmlns="" id="{9E90D4A6-EABC-4668-B33A-12C8E0ACFBB3}"/>
              </a:ext>
            </a:extLst>
          </p:cNvPr>
          <p:cNvSpPr>
            <a:spLocks noGrp="1"/>
          </p:cNvSpPr>
          <p:nvPr userDrawn="1">
            <p:ph type="ctrTitle" hasCustomPrompt="1"/>
          </p:nvPr>
        </p:nvSpPr>
        <p:spPr>
          <a:xfrm>
            <a:off x="1339912" y="2601085"/>
            <a:ext cx="6859208" cy="707886"/>
          </a:xfrm>
        </p:spPr>
        <p:txBody>
          <a:bodyPr wrap="square" anchor="b">
            <a:spAutoFit/>
          </a:bodyPr>
          <a:lstStyle>
            <a:lvl1pPr>
              <a:defRPr sz="4000">
                <a:solidFill>
                  <a:schemeClr val="bg1"/>
                </a:solidFill>
              </a:defRPr>
            </a:lvl1pPr>
          </a:lstStyle>
          <a:p>
            <a:r>
              <a:rPr lang="en-US" dirty="0"/>
              <a:t>TITLE OF THE DOCUMENT</a:t>
            </a:r>
          </a:p>
        </p:txBody>
      </p:sp>
      <p:sp>
        <p:nvSpPr>
          <p:cNvPr id="43" name="Subtitle 2">
            <a:extLst>
              <a:ext uri="{FF2B5EF4-FFF2-40B4-BE49-F238E27FC236}">
                <a16:creationId xmlns:a16="http://schemas.microsoft.com/office/drawing/2014/main" xmlns="" id="{5A7FD2E5-3430-4B6D-8B88-FEEF41234A8A}"/>
              </a:ext>
            </a:extLst>
          </p:cNvPr>
          <p:cNvSpPr>
            <a:spLocks noGrp="1"/>
          </p:cNvSpPr>
          <p:nvPr userDrawn="1">
            <p:ph type="subTitle" idx="1" hasCustomPrompt="1"/>
          </p:nvPr>
        </p:nvSpPr>
        <p:spPr>
          <a:xfrm>
            <a:off x="1339912" y="4237381"/>
            <a:ext cx="6859208" cy="492443"/>
          </a:xfrm>
        </p:spPr>
        <p:txBody>
          <a:bodyPr/>
          <a:lstStyle>
            <a:lvl1pPr>
              <a:defRPr sz="3200">
                <a:solidFill>
                  <a:schemeClr val="bg1"/>
                </a:solidFill>
              </a:defRPr>
            </a:lvl1pPr>
          </a:lstStyle>
          <a:p>
            <a:r>
              <a:rPr lang="en-US"/>
              <a:t>EDIT SUBTITLE</a:t>
            </a:r>
            <a:endParaRPr lang="en-US" dirty="0"/>
          </a:p>
        </p:txBody>
      </p:sp>
      <p:sp>
        <p:nvSpPr>
          <p:cNvPr id="85" name="Text Placeholder 84">
            <a:extLst>
              <a:ext uri="{FF2B5EF4-FFF2-40B4-BE49-F238E27FC236}">
                <a16:creationId xmlns:a16="http://schemas.microsoft.com/office/drawing/2014/main" xmlns="" id="{217D11FD-233F-4482-938B-82CA452ECE9C}"/>
              </a:ext>
            </a:extLst>
          </p:cNvPr>
          <p:cNvSpPr>
            <a:spLocks noGrp="1"/>
          </p:cNvSpPr>
          <p:nvPr userDrawn="1">
            <p:ph type="body" sz="quarter" idx="10"/>
          </p:nvPr>
        </p:nvSpPr>
        <p:spPr>
          <a:xfrm>
            <a:off x="1339397" y="3407037"/>
            <a:ext cx="6841373" cy="430887"/>
          </a:xfrm>
        </p:spPr>
        <p:txBody>
          <a:bodyPr vert="horz" wrap="square" lIns="0" tIns="0" rIns="0" bIns="0" rtlCol="0">
            <a:spAutoFit/>
          </a:bodyPr>
          <a:lstStyle>
            <a:lvl1pPr>
              <a:defRPr lang="en-US" sz="2800" i="0"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pPr lvl="0"/>
            <a:r>
              <a:rPr lang="en-US" dirty="0"/>
              <a:t>Edit Master text styles</a:t>
            </a:r>
          </a:p>
        </p:txBody>
      </p:sp>
    </p:spTree>
    <p:extLst>
      <p:ext uri="{BB962C8B-B14F-4D97-AF65-F5344CB8AC3E}">
        <p14:creationId xmlns:p14="http://schemas.microsoft.com/office/powerpoint/2010/main" val="40649824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52013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CC47C69-22BC-405B-8E87-FECE110BE624}"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2724410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1325281" y="-1"/>
            <a:ext cx="5195129" cy="4674887"/>
          </a:xfrm>
          <a:custGeom>
            <a:avLst/>
            <a:gdLst>
              <a:gd name="connsiteX0" fmla="*/ 1257458 w 5195129"/>
              <a:gd name="connsiteY0" fmla="*/ 0 h 4674887"/>
              <a:gd name="connsiteX1" fmla="*/ 4888355 w 5195129"/>
              <a:gd name="connsiteY1" fmla="*/ 0 h 4674887"/>
              <a:gd name="connsiteX2" fmla="*/ 4897797 w 5195129"/>
              <a:gd name="connsiteY2" fmla="*/ 10583 h 4674887"/>
              <a:gd name="connsiteX3" fmla="*/ 4991734 w 5195129"/>
              <a:gd name="connsiteY3" fmla="*/ 153016 h 4674887"/>
              <a:gd name="connsiteX4" fmla="*/ 5155578 w 5195129"/>
              <a:gd name="connsiteY4" fmla="*/ 618243 h 4674887"/>
              <a:gd name="connsiteX5" fmla="*/ 5191863 w 5195129"/>
              <a:gd name="connsiteY5" fmla="*/ 1214314 h 4674887"/>
              <a:gd name="connsiteX6" fmla="*/ 5140212 w 5195129"/>
              <a:gd name="connsiteY6" fmla="*/ 1702059 h 4674887"/>
              <a:gd name="connsiteX7" fmla="*/ 5065164 w 5195129"/>
              <a:gd name="connsiteY7" fmla="*/ 2086547 h 4674887"/>
              <a:gd name="connsiteX8" fmla="*/ 4969982 w 5195129"/>
              <a:gd name="connsiteY8" fmla="*/ 2462239 h 4674887"/>
              <a:gd name="connsiteX9" fmla="*/ 4966842 w 5195129"/>
              <a:gd name="connsiteY9" fmla="*/ 2481819 h 4674887"/>
              <a:gd name="connsiteX10" fmla="*/ 4948658 w 5195129"/>
              <a:gd name="connsiteY10" fmla="*/ 2545371 h 4674887"/>
              <a:gd name="connsiteX11" fmla="*/ 4938561 w 5195129"/>
              <a:gd name="connsiteY11" fmla="*/ 2572055 h 4674887"/>
              <a:gd name="connsiteX12" fmla="*/ 4784773 w 5195129"/>
              <a:gd name="connsiteY12" fmla="*/ 3040688 h 4674887"/>
              <a:gd name="connsiteX13" fmla="*/ 4548619 w 5195129"/>
              <a:gd name="connsiteY13" fmla="*/ 3590655 h 4674887"/>
              <a:gd name="connsiteX14" fmla="*/ 4250458 w 5195129"/>
              <a:gd name="connsiteY14" fmla="*/ 4073335 h 4674887"/>
              <a:gd name="connsiteX15" fmla="*/ 3878856 w 5195129"/>
              <a:gd name="connsiteY15" fmla="*/ 4443497 h 4674887"/>
              <a:gd name="connsiteX16" fmla="*/ 3186482 w 5195129"/>
              <a:gd name="connsiteY16" fmla="*/ 4674862 h 4674887"/>
              <a:gd name="connsiteX17" fmla="*/ 2891514 w 5195129"/>
              <a:gd name="connsiteY17" fmla="*/ 4643798 h 4674887"/>
              <a:gd name="connsiteX18" fmla="*/ 2828700 w 5195129"/>
              <a:gd name="connsiteY18" fmla="*/ 4634421 h 4674887"/>
              <a:gd name="connsiteX19" fmla="*/ 2731286 w 5195129"/>
              <a:gd name="connsiteY19" fmla="*/ 4606548 h 4674887"/>
              <a:gd name="connsiteX20" fmla="*/ 2693489 w 5195129"/>
              <a:gd name="connsiteY20" fmla="*/ 4588909 h 4674887"/>
              <a:gd name="connsiteX21" fmla="*/ 2259009 w 5195129"/>
              <a:gd name="connsiteY21" fmla="*/ 4386231 h 4674887"/>
              <a:gd name="connsiteX22" fmla="*/ 1725702 w 5195129"/>
              <a:gd name="connsiteY22" fmla="*/ 4009169 h 4674887"/>
              <a:gd name="connsiteX23" fmla="*/ 1036282 w 5195129"/>
              <a:gd name="connsiteY23" fmla="*/ 3354127 h 4674887"/>
              <a:gd name="connsiteX24" fmla="*/ 456082 w 5195129"/>
              <a:gd name="connsiteY24" fmla="*/ 2640093 h 4674887"/>
              <a:gd name="connsiteX25" fmla="*/ 152116 w 5195129"/>
              <a:gd name="connsiteY25" fmla="*/ 2096603 h 4674887"/>
              <a:gd name="connsiteX26" fmla="*/ 13326 w 5195129"/>
              <a:gd name="connsiteY26" fmla="*/ 1617813 h 4674887"/>
              <a:gd name="connsiteX27" fmla="*/ 19959 w 5195129"/>
              <a:gd name="connsiteY27" fmla="*/ 1209959 h 4674887"/>
              <a:gd name="connsiteX28" fmla="*/ 31259 w 5195129"/>
              <a:gd name="connsiteY28" fmla="*/ 1142921 h 4674887"/>
              <a:gd name="connsiteX29" fmla="*/ 53053 w 5195129"/>
              <a:gd name="connsiteY29" fmla="*/ 1066752 h 4674887"/>
              <a:gd name="connsiteX30" fmla="*/ 61817 w 5195129"/>
              <a:gd name="connsiteY30" fmla="*/ 1049035 h 4674887"/>
              <a:gd name="connsiteX31" fmla="*/ 105769 w 5195129"/>
              <a:gd name="connsiteY31" fmla="*/ 941036 h 4674887"/>
              <a:gd name="connsiteX32" fmla="*/ 367836 w 5195129"/>
              <a:gd name="connsiteY32" fmla="*/ 565570 h 4674887"/>
              <a:gd name="connsiteX33" fmla="*/ 837097 w 5195129"/>
              <a:gd name="connsiteY33" fmla="*/ 206920 h 4674887"/>
              <a:gd name="connsiteX34" fmla="*/ 1121761 w 5195129"/>
              <a:gd name="connsiteY34" fmla="*/ 57235 h 46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5129" h="4674887">
                <a:moveTo>
                  <a:pt x="1257458" y="0"/>
                </a:moveTo>
                <a:lnTo>
                  <a:pt x="4888355" y="0"/>
                </a:lnTo>
                <a:lnTo>
                  <a:pt x="4897797" y="10583"/>
                </a:lnTo>
                <a:cubicBezTo>
                  <a:pt x="4932002" y="55083"/>
                  <a:pt x="4963329" y="102548"/>
                  <a:pt x="4991734" y="153016"/>
                </a:cubicBezTo>
                <a:cubicBezTo>
                  <a:pt x="5073471" y="298496"/>
                  <a:pt x="5124502" y="454903"/>
                  <a:pt x="5155578" y="618243"/>
                </a:cubicBezTo>
                <a:cubicBezTo>
                  <a:pt x="5192956" y="815490"/>
                  <a:pt x="5200577" y="1014331"/>
                  <a:pt x="5191863" y="1214314"/>
                </a:cubicBezTo>
                <a:cubicBezTo>
                  <a:pt x="5184425" y="1378006"/>
                  <a:pt x="5166047" y="1540340"/>
                  <a:pt x="5140212" y="1702059"/>
                </a:cubicBezTo>
                <a:cubicBezTo>
                  <a:pt x="5119763" y="1831189"/>
                  <a:pt x="5095537" y="1959748"/>
                  <a:pt x="5065164" y="2086547"/>
                </a:cubicBezTo>
                <a:cubicBezTo>
                  <a:pt x="5035290" y="2212477"/>
                  <a:pt x="5001840" y="2337131"/>
                  <a:pt x="4969982" y="2462239"/>
                </a:cubicBezTo>
                <a:cubicBezTo>
                  <a:pt x="4968404" y="2468613"/>
                  <a:pt x="4967964" y="2475314"/>
                  <a:pt x="4966842" y="2481819"/>
                </a:cubicBezTo>
                <a:lnTo>
                  <a:pt x="4948658" y="2545371"/>
                </a:lnTo>
                <a:cubicBezTo>
                  <a:pt x="4945367" y="2554287"/>
                  <a:pt x="4941394" y="2563009"/>
                  <a:pt x="4938561" y="2572055"/>
                </a:cubicBezTo>
                <a:cubicBezTo>
                  <a:pt x="4891773" y="2729547"/>
                  <a:pt x="4841279" y="2886230"/>
                  <a:pt x="4784773" y="3040688"/>
                </a:cubicBezTo>
                <a:cubicBezTo>
                  <a:pt x="4715843" y="3228242"/>
                  <a:pt x="4638756" y="3412454"/>
                  <a:pt x="4548619" y="3590655"/>
                </a:cubicBezTo>
                <a:cubicBezTo>
                  <a:pt x="4462746" y="3759964"/>
                  <a:pt x="4366041" y="3922386"/>
                  <a:pt x="4250458" y="4073335"/>
                </a:cubicBezTo>
                <a:cubicBezTo>
                  <a:pt x="4143196" y="4213270"/>
                  <a:pt x="4022542" y="4339769"/>
                  <a:pt x="3878856" y="4443497"/>
                </a:cubicBezTo>
                <a:cubicBezTo>
                  <a:pt x="3672253" y="4592420"/>
                  <a:pt x="3442748" y="4673364"/>
                  <a:pt x="3186482" y="4674862"/>
                </a:cubicBezTo>
                <a:cubicBezTo>
                  <a:pt x="3087070" y="4675486"/>
                  <a:pt x="2988750" y="4664545"/>
                  <a:pt x="2891514" y="4643798"/>
                </a:cubicBezTo>
                <a:cubicBezTo>
                  <a:pt x="2870856" y="4639405"/>
                  <a:pt x="2849760" y="4637412"/>
                  <a:pt x="2828700" y="4634421"/>
                </a:cubicBezTo>
                <a:lnTo>
                  <a:pt x="2731286" y="4606548"/>
                </a:lnTo>
                <a:cubicBezTo>
                  <a:pt x="2718686" y="4600669"/>
                  <a:pt x="2706718" y="4593450"/>
                  <a:pt x="2693489" y="4588909"/>
                </a:cubicBezTo>
                <a:cubicBezTo>
                  <a:pt x="2541742" y="4536644"/>
                  <a:pt x="2397648" y="4467102"/>
                  <a:pt x="2259009" y="4386231"/>
                </a:cubicBezTo>
                <a:cubicBezTo>
                  <a:pt x="2070375" y="4276141"/>
                  <a:pt x="1894025" y="4148078"/>
                  <a:pt x="1725702" y="4009169"/>
                </a:cubicBezTo>
                <a:cubicBezTo>
                  <a:pt x="1480355" y="3807273"/>
                  <a:pt x="1253033" y="3586266"/>
                  <a:pt x="1036282" y="3354127"/>
                </a:cubicBezTo>
                <a:cubicBezTo>
                  <a:pt x="826552" y="3129305"/>
                  <a:pt x="629305" y="2894407"/>
                  <a:pt x="456082" y="2640093"/>
                </a:cubicBezTo>
                <a:cubicBezTo>
                  <a:pt x="338927" y="2467797"/>
                  <a:pt x="234138" y="2288421"/>
                  <a:pt x="152116" y="2096603"/>
                </a:cubicBezTo>
                <a:cubicBezTo>
                  <a:pt x="86077" y="1942724"/>
                  <a:pt x="36464" y="1783939"/>
                  <a:pt x="13326" y="1617813"/>
                </a:cubicBezTo>
                <a:cubicBezTo>
                  <a:pt x="-5531" y="1481481"/>
                  <a:pt x="-5295" y="1345552"/>
                  <a:pt x="19959" y="1209959"/>
                </a:cubicBezTo>
                <a:cubicBezTo>
                  <a:pt x="24128" y="1187644"/>
                  <a:pt x="27546" y="1165366"/>
                  <a:pt x="31259" y="1142921"/>
                </a:cubicBezTo>
                <a:lnTo>
                  <a:pt x="53053" y="1066752"/>
                </a:lnTo>
                <a:cubicBezTo>
                  <a:pt x="55998" y="1060766"/>
                  <a:pt x="59555" y="1055213"/>
                  <a:pt x="61817" y="1049035"/>
                </a:cubicBezTo>
                <a:cubicBezTo>
                  <a:pt x="76541" y="1013058"/>
                  <a:pt x="89516" y="976325"/>
                  <a:pt x="105769" y="941036"/>
                </a:cubicBezTo>
                <a:cubicBezTo>
                  <a:pt x="170030" y="799921"/>
                  <a:pt x="260001" y="676524"/>
                  <a:pt x="367836" y="565570"/>
                </a:cubicBezTo>
                <a:cubicBezTo>
                  <a:pt x="506395" y="422961"/>
                  <a:pt x="666033" y="307366"/>
                  <a:pt x="837097" y="206920"/>
                </a:cubicBezTo>
                <a:cubicBezTo>
                  <a:pt x="929764" y="152419"/>
                  <a:pt x="1024798" y="102766"/>
                  <a:pt x="1121761" y="57235"/>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xmlns="" id="{CBF662B1-E5B0-48D2-B39D-43A30B4B8A46}"/>
              </a:ext>
            </a:extLst>
          </p:cNvPr>
          <p:cNvSpPr>
            <a:spLocks noGrp="1"/>
          </p:cNvSpPr>
          <p:nvPr>
            <p:ph type="title"/>
          </p:nvPr>
        </p:nvSpPr>
        <p:spPr>
          <a:xfrm>
            <a:off x="6858001" y="230314"/>
            <a:ext cx="5104002" cy="1077218"/>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xmlns="" id="{B142802C-AEEA-4B92-B5B3-0756576E8F5B}"/>
              </a:ext>
            </a:extLst>
          </p:cNvPr>
          <p:cNvSpPr>
            <a:spLocks noGrp="1"/>
          </p:cNvSpPr>
          <p:nvPr>
            <p:ph type="body" sz="quarter" idx="17"/>
          </p:nvPr>
        </p:nvSpPr>
        <p:spPr>
          <a:xfrm>
            <a:off x="6858001" y="843417"/>
            <a:ext cx="5104001"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653247769"/>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86458" y="1260375"/>
            <a:ext cx="4397254" cy="4336451"/>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xmlns="" id="{96C377F9-FA26-4D7D-8C15-5737D0343826}"/>
              </a:ext>
            </a:extLst>
          </p:cNvPr>
          <p:cNvSpPr>
            <a:spLocks noGrp="1"/>
          </p:cNvSpPr>
          <p:nvPr>
            <p:ph type="title"/>
          </p:nvPr>
        </p:nvSpPr>
        <p:spPr>
          <a:xfrm>
            <a:off x="4296227" y="230314"/>
            <a:ext cx="7665776"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xmlns="" id="{8DEAE418-52E2-4DE7-A31D-BA3FF67BE6A9}"/>
              </a:ext>
            </a:extLst>
          </p:cNvPr>
          <p:cNvSpPr>
            <a:spLocks noGrp="1"/>
          </p:cNvSpPr>
          <p:nvPr>
            <p:ph type="body" sz="quarter" idx="17"/>
          </p:nvPr>
        </p:nvSpPr>
        <p:spPr>
          <a:xfrm>
            <a:off x="4296227" y="843417"/>
            <a:ext cx="7665776"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679754400"/>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xmlns="" id="{2755FD07-32D4-4A25-A7A2-13926211B760}"/>
              </a:ext>
            </a:extLst>
          </p:cNvPr>
          <p:cNvSpPr>
            <a:spLocks noGrp="1"/>
          </p:cNvSpPr>
          <p:nvPr>
            <p:ph type="pic" sz="quarter" idx="16" hasCustomPrompt="1"/>
          </p:nvPr>
        </p:nvSpPr>
        <p:spPr>
          <a:xfrm>
            <a:off x="0" y="1"/>
            <a:ext cx="12192000" cy="3187700"/>
          </a:xfrm>
          <a:prstGeom prst="rect">
            <a:avLst/>
          </a:prstGeom>
          <a:solidFill>
            <a:schemeClr val="bg1">
              <a:lumMod val="85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6" name="Title 1">
            <a:extLst>
              <a:ext uri="{FF2B5EF4-FFF2-40B4-BE49-F238E27FC236}">
                <a16:creationId xmlns:a16="http://schemas.microsoft.com/office/drawing/2014/main" xmlns="" id="{51F7B841-B016-4EA6-B35A-56DF9234E7A6}"/>
              </a:ext>
            </a:extLst>
          </p:cNvPr>
          <p:cNvSpPr>
            <a:spLocks noGrp="1"/>
          </p:cNvSpPr>
          <p:nvPr>
            <p:ph type="title"/>
          </p:nvPr>
        </p:nvSpPr>
        <p:spPr>
          <a:xfrm>
            <a:off x="723900" y="230314"/>
            <a:ext cx="108204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8" name="Text Placeholder 5">
            <a:extLst>
              <a:ext uri="{FF2B5EF4-FFF2-40B4-BE49-F238E27FC236}">
                <a16:creationId xmlns:a16="http://schemas.microsoft.com/office/drawing/2014/main" xmlns="" id="{4E848E19-DAF4-49BB-B133-74C5F04FFF33}"/>
              </a:ext>
            </a:extLst>
          </p:cNvPr>
          <p:cNvSpPr>
            <a:spLocks noGrp="1"/>
          </p:cNvSpPr>
          <p:nvPr>
            <p:ph type="body" sz="quarter" idx="17"/>
          </p:nvPr>
        </p:nvSpPr>
        <p:spPr>
          <a:xfrm>
            <a:off x="723901" y="843417"/>
            <a:ext cx="10820400"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914613352"/>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69"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endParaRPr lang="en-GB" dirty="0"/>
          </a:p>
        </p:txBody>
      </p:sp>
      <p:sp>
        <p:nvSpPr>
          <p:cNvPr id="7" name="Text Placeholder 5">
            <a:extLst>
              <a:ext uri="{FF2B5EF4-FFF2-40B4-BE49-F238E27FC236}">
                <a16:creationId xmlns:a16="http://schemas.microsoft.com/office/drawing/2014/main" xmlns="" id="{502DCD3E-688B-4163-B796-566F5536398E}"/>
              </a:ext>
            </a:extLst>
          </p:cNvPr>
          <p:cNvSpPr>
            <a:spLocks noGrp="1"/>
          </p:cNvSpPr>
          <p:nvPr>
            <p:ph type="body" sz="quarter" idx="17"/>
          </p:nvPr>
        </p:nvSpPr>
        <p:spPr>
          <a:xfrm>
            <a:off x="723901" y="843417"/>
            <a:ext cx="10820400"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3607769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BAB6AC99-4036-4871-B44A-163F75919769}"/>
              </a:ext>
            </a:extLst>
          </p:cNvPr>
          <p:cNvSpPr>
            <a:spLocks noGrp="1"/>
          </p:cNvSpPr>
          <p:nvPr>
            <p:ph type="title"/>
          </p:nvPr>
        </p:nvSpPr>
        <p:spPr>
          <a:xfrm>
            <a:off x="723900" y="230315"/>
            <a:ext cx="5219700" cy="1077218"/>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xmlns="" id="{8806BEB1-554E-441B-8143-1262D1DD2187}"/>
              </a:ext>
            </a:extLst>
          </p:cNvPr>
          <p:cNvSpPr>
            <a:spLocks noGrp="1"/>
          </p:cNvSpPr>
          <p:nvPr>
            <p:ph type="body" sz="quarter" idx="17"/>
          </p:nvPr>
        </p:nvSpPr>
        <p:spPr>
          <a:xfrm>
            <a:off x="723901" y="843417"/>
            <a:ext cx="5219699" cy="246221"/>
          </a:xfrm>
        </p:spPr>
        <p:txBody>
          <a:bodyPr lIns="90000"/>
          <a:lstStyle>
            <a:lvl1pPr>
              <a:defRPr>
                <a:solidFill>
                  <a:schemeClr val="tx1"/>
                </a:solidFill>
              </a:defRPr>
            </a:lvl1pPr>
          </a:lstStyle>
          <a:p>
            <a:pPr lvl="0"/>
            <a:r>
              <a:rPr lang="en-US" dirty="0"/>
              <a:t>Edit Master text styles</a:t>
            </a:r>
          </a:p>
        </p:txBody>
      </p:sp>
      <p:sp>
        <p:nvSpPr>
          <p:cNvPr id="5" name="Picture Placeholder 5">
            <a:extLst>
              <a:ext uri="{FF2B5EF4-FFF2-40B4-BE49-F238E27FC236}">
                <a16:creationId xmlns:a16="http://schemas.microsoft.com/office/drawing/2014/main" xmlns="" id="{0A28A75D-08F0-4C74-9485-2A3A830F979B}"/>
              </a:ext>
            </a:extLst>
          </p:cNvPr>
          <p:cNvSpPr>
            <a:spLocks noGrp="1"/>
          </p:cNvSpPr>
          <p:nvPr>
            <p:ph type="pic" sz="quarter" idx="13" hasCustomPrompt="1"/>
          </p:nvPr>
        </p:nvSpPr>
        <p:spPr bwMode="auto">
          <a:xfrm>
            <a:off x="4639333" y="-21085"/>
            <a:ext cx="7552668" cy="6879085"/>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 name="connsiteX0" fmla="*/ 2971144 w 8548017"/>
              <a:gd name="connsiteY0" fmla="*/ 0 h 6858000"/>
              <a:gd name="connsiteX1" fmla="*/ 7752484 w 8548017"/>
              <a:gd name="connsiteY1" fmla="*/ 0 h 6858000"/>
              <a:gd name="connsiteX2" fmla="*/ 7863964 w 8548017"/>
              <a:gd name="connsiteY2" fmla="*/ 173070 h 6858000"/>
              <a:gd name="connsiteX3" fmla="*/ 8548017 w 8548017"/>
              <a:gd name="connsiteY3" fmla="*/ 1036643 h 6858000"/>
              <a:gd name="connsiteX4" fmla="*/ 8527206 w 8548017"/>
              <a:gd name="connsiteY4" fmla="*/ 1631659 h 6858000"/>
              <a:gd name="connsiteX5" fmla="*/ 8527206 w 8548017"/>
              <a:gd name="connsiteY5" fmla="*/ 6858000 h 6858000"/>
              <a:gd name="connsiteX6" fmla="*/ 1968306 w 8548017"/>
              <a:gd name="connsiteY6" fmla="*/ 6858000 h 6858000"/>
              <a:gd name="connsiteX7" fmla="*/ 1963205 w 8548017"/>
              <a:gd name="connsiteY7" fmla="*/ 6855630 h 6858000"/>
              <a:gd name="connsiteX8" fmla="*/ 1098144 w 8548017"/>
              <a:gd name="connsiteY8" fmla="*/ 6340068 h 6858000"/>
              <a:gd name="connsiteX9" fmla="*/ 430707 w 8548017"/>
              <a:gd name="connsiteY9" fmla="*/ 5690993 h 6858000"/>
              <a:gd name="connsiteX10" fmla="*/ 561 w 8548017"/>
              <a:gd name="connsiteY10" fmla="*/ 4468699 h 6858000"/>
              <a:gd name="connsiteX11" fmla="*/ 47377 w 8548017"/>
              <a:gd name="connsiteY11" fmla="*/ 3944319 h 6858000"/>
              <a:gd name="connsiteX12" fmla="*/ 62248 w 8548017"/>
              <a:gd name="connsiteY12" fmla="*/ 3832572 h 6858000"/>
              <a:gd name="connsiteX13" fmla="*/ 108969 w 8548017"/>
              <a:gd name="connsiteY13" fmla="*/ 3658898 h 6858000"/>
              <a:gd name="connsiteX14" fmla="*/ 139210 w 8548017"/>
              <a:gd name="connsiteY14" fmla="*/ 3591318 h 6858000"/>
              <a:gd name="connsiteX15" fmla="*/ 486668 w 8548017"/>
              <a:gd name="connsiteY15" fmla="*/ 2814496 h 6858000"/>
              <a:gd name="connsiteX16" fmla="*/ 1140836 w 8548017"/>
              <a:gd name="connsiteY16" fmla="*/ 1857357 h 6858000"/>
              <a:gd name="connsiteX17" fmla="*/ 2283959 w 8548017"/>
              <a:gd name="connsiteY17" fmla="*/ 615316 h 6858000"/>
              <a:gd name="connsiteX18" fmla="*/ 2889393 w 8548017"/>
              <a:gd name="connsiteY18" fmla="*/ 66398 h 6858000"/>
              <a:gd name="connsiteX19" fmla="*/ 2971144 w 8548017"/>
              <a:gd name="connsiteY19" fmla="*/ 0 h 6858000"/>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601798"/>
              <a:gd name="connsiteY0" fmla="*/ 1101 h 6859101"/>
              <a:gd name="connsiteX1" fmla="*/ 7752484 w 8601798"/>
              <a:gd name="connsiteY1" fmla="*/ 1101 h 6859101"/>
              <a:gd name="connsiteX2" fmla="*/ 8535835 w 8601798"/>
              <a:gd name="connsiteY2" fmla="*/ 0 h 6859101"/>
              <a:gd name="connsiteX3" fmla="*/ 8548017 w 8601798"/>
              <a:gd name="connsiteY3" fmla="*/ 1037744 h 6859101"/>
              <a:gd name="connsiteX4" fmla="*/ 8527206 w 8601798"/>
              <a:gd name="connsiteY4" fmla="*/ 1632760 h 6859101"/>
              <a:gd name="connsiteX5" fmla="*/ 8527206 w 8601798"/>
              <a:gd name="connsiteY5" fmla="*/ 6859101 h 6859101"/>
              <a:gd name="connsiteX6" fmla="*/ 1968306 w 8601798"/>
              <a:gd name="connsiteY6" fmla="*/ 6859101 h 6859101"/>
              <a:gd name="connsiteX7" fmla="*/ 1963205 w 8601798"/>
              <a:gd name="connsiteY7" fmla="*/ 6856731 h 6859101"/>
              <a:gd name="connsiteX8" fmla="*/ 1098144 w 8601798"/>
              <a:gd name="connsiteY8" fmla="*/ 6341169 h 6859101"/>
              <a:gd name="connsiteX9" fmla="*/ 430707 w 8601798"/>
              <a:gd name="connsiteY9" fmla="*/ 5692094 h 6859101"/>
              <a:gd name="connsiteX10" fmla="*/ 561 w 8601798"/>
              <a:gd name="connsiteY10" fmla="*/ 4469800 h 6859101"/>
              <a:gd name="connsiteX11" fmla="*/ 47377 w 8601798"/>
              <a:gd name="connsiteY11" fmla="*/ 3945420 h 6859101"/>
              <a:gd name="connsiteX12" fmla="*/ 62248 w 8601798"/>
              <a:gd name="connsiteY12" fmla="*/ 3833673 h 6859101"/>
              <a:gd name="connsiteX13" fmla="*/ 108969 w 8601798"/>
              <a:gd name="connsiteY13" fmla="*/ 3659999 h 6859101"/>
              <a:gd name="connsiteX14" fmla="*/ 139210 w 8601798"/>
              <a:gd name="connsiteY14" fmla="*/ 3592419 h 6859101"/>
              <a:gd name="connsiteX15" fmla="*/ 486668 w 8601798"/>
              <a:gd name="connsiteY15" fmla="*/ 2815597 h 6859101"/>
              <a:gd name="connsiteX16" fmla="*/ 1140836 w 8601798"/>
              <a:gd name="connsiteY16" fmla="*/ 1858458 h 6859101"/>
              <a:gd name="connsiteX17" fmla="*/ 2283959 w 8601798"/>
              <a:gd name="connsiteY17" fmla="*/ 616417 h 6859101"/>
              <a:gd name="connsiteX18" fmla="*/ 2889393 w 8601798"/>
              <a:gd name="connsiteY18" fmla="*/ 67499 h 6859101"/>
              <a:gd name="connsiteX19" fmla="*/ 2971144 w 8601798"/>
              <a:gd name="connsiteY19" fmla="*/ 1101 h 6859101"/>
              <a:gd name="connsiteX0" fmla="*/ 2971144 w 8875759"/>
              <a:gd name="connsiteY0" fmla="*/ 1101 h 6859101"/>
              <a:gd name="connsiteX1" fmla="*/ 7752484 w 8875759"/>
              <a:gd name="connsiteY1" fmla="*/ 1101 h 6859101"/>
              <a:gd name="connsiteX2" fmla="*/ 8535835 w 8875759"/>
              <a:gd name="connsiteY2" fmla="*/ 0 h 6859101"/>
              <a:gd name="connsiteX3" fmla="*/ 8875759 w 8875759"/>
              <a:gd name="connsiteY3" fmla="*/ 1139344 h 6859101"/>
              <a:gd name="connsiteX4" fmla="*/ 8527206 w 8875759"/>
              <a:gd name="connsiteY4" fmla="*/ 1632760 h 6859101"/>
              <a:gd name="connsiteX5" fmla="*/ 8527206 w 8875759"/>
              <a:gd name="connsiteY5" fmla="*/ 6859101 h 6859101"/>
              <a:gd name="connsiteX6" fmla="*/ 1968306 w 8875759"/>
              <a:gd name="connsiteY6" fmla="*/ 6859101 h 6859101"/>
              <a:gd name="connsiteX7" fmla="*/ 1963205 w 8875759"/>
              <a:gd name="connsiteY7" fmla="*/ 6856731 h 6859101"/>
              <a:gd name="connsiteX8" fmla="*/ 1098144 w 8875759"/>
              <a:gd name="connsiteY8" fmla="*/ 6341169 h 6859101"/>
              <a:gd name="connsiteX9" fmla="*/ 430707 w 8875759"/>
              <a:gd name="connsiteY9" fmla="*/ 5692094 h 6859101"/>
              <a:gd name="connsiteX10" fmla="*/ 561 w 8875759"/>
              <a:gd name="connsiteY10" fmla="*/ 4469800 h 6859101"/>
              <a:gd name="connsiteX11" fmla="*/ 47377 w 8875759"/>
              <a:gd name="connsiteY11" fmla="*/ 3945420 h 6859101"/>
              <a:gd name="connsiteX12" fmla="*/ 62248 w 8875759"/>
              <a:gd name="connsiteY12" fmla="*/ 3833673 h 6859101"/>
              <a:gd name="connsiteX13" fmla="*/ 108969 w 8875759"/>
              <a:gd name="connsiteY13" fmla="*/ 3659999 h 6859101"/>
              <a:gd name="connsiteX14" fmla="*/ 139210 w 8875759"/>
              <a:gd name="connsiteY14" fmla="*/ 3592419 h 6859101"/>
              <a:gd name="connsiteX15" fmla="*/ 486668 w 8875759"/>
              <a:gd name="connsiteY15" fmla="*/ 2815597 h 6859101"/>
              <a:gd name="connsiteX16" fmla="*/ 1140836 w 8875759"/>
              <a:gd name="connsiteY16" fmla="*/ 1858458 h 6859101"/>
              <a:gd name="connsiteX17" fmla="*/ 2283959 w 8875759"/>
              <a:gd name="connsiteY17" fmla="*/ 616417 h 6859101"/>
              <a:gd name="connsiteX18" fmla="*/ 2889393 w 8875759"/>
              <a:gd name="connsiteY18" fmla="*/ 67499 h 6859101"/>
              <a:gd name="connsiteX19" fmla="*/ 2971144 w 8875759"/>
              <a:gd name="connsiteY19" fmla="*/ 1101 h 6859101"/>
              <a:gd name="connsiteX0" fmla="*/ 2971144 w 8875759"/>
              <a:gd name="connsiteY0" fmla="*/ 0 h 6858000"/>
              <a:gd name="connsiteX1" fmla="*/ 7752484 w 8875759"/>
              <a:gd name="connsiteY1" fmla="*/ 0 h 6858000"/>
              <a:gd name="connsiteX2" fmla="*/ 8781642 w 8875759"/>
              <a:gd name="connsiteY2" fmla="*/ 85984 h 6858000"/>
              <a:gd name="connsiteX3" fmla="*/ 8875759 w 8875759"/>
              <a:gd name="connsiteY3" fmla="*/ 1138243 h 6858000"/>
              <a:gd name="connsiteX4" fmla="*/ 8527206 w 8875759"/>
              <a:gd name="connsiteY4" fmla="*/ 1631659 h 6858000"/>
              <a:gd name="connsiteX5" fmla="*/ 8527206 w 8875759"/>
              <a:gd name="connsiteY5" fmla="*/ 6858000 h 6858000"/>
              <a:gd name="connsiteX6" fmla="*/ 1968306 w 8875759"/>
              <a:gd name="connsiteY6" fmla="*/ 6858000 h 6858000"/>
              <a:gd name="connsiteX7" fmla="*/ 1963205 w 8875759"/>
              <a:gd name="connsiteY7" fmla="*/ 6855630 h 6858000"/>
              <a:gd name="connsiteX8" fmla="*/ 1098144 w 8875759"/>
              <a:gd name="connsiteY8" fmla="*/ 6340068 h 6858000"/>
              <a:gd name="connsiteX9" fmla="*/ 430707 w 8875759"/>
              <a:gd name="connsiteY9" fmla="*/ 5690993 h 6858000"/>
              <a:gd name="connsiteX10" fmla="*/ 561 w 8875759"/>
              <a:gd name="connsiteY10" fmla="*/ 4468699 h 6858000"/>
              <a:gd name="connsiteX11" fmla="*/ 47377 w 8875759"/>
              <a:gd name="connsiteY11" fmla="*/ 3944319 h 6858000"/>
              <a:gd name="connsiteX12" fmla="*/ 62248 w 8875759"/>
              <a:gd name="connsiteY12" fmla="*/ 3832572 h 6858000"/>
              <a:gd name="connsiteX13" fmla="*/ 108969 w 8875759"/>
              <a:gd name="connsiteY13" fmla="*/ 3658898 h 6858000"/>
              <a:gd name="connsiteX14" fmla="*/ 139210 w 8875759"/>
              <a:gd name="connsiteY14" fmla="*/ 3591318 h 6858000"/>
              <a:gd name="connsiteX15" fmla="*/ 486668 w 8875759"/>
              <a:gd name="connsiteY15" fmla="*/ 2814496 h 6858000"/>
              <a:gd name="connsiteX16" fmla="*/ 1140836 w 8875759"/>
              <a:gd name="connsiteY16" fmla="*/ 1857357 h 6858000"/>
              <a:gd name="connsiteX17" fmla="*/ 2283959 w 8875759"/>
              <a:gd name="connsiteY17" fmla="*/ 615316 h 6858000"/>
              <a:gd name="connsiteX18" fmla="*/ 2889393 w 8875759"/>
              <a:gd name="connsiteY18" fmla="*/ 66398 h 6858000"/>
              <a:gd name="connsiteX19" fmla="*/ 2971144 w 8875759"/>
              <a:gd name="connsiteY19" fmla="*/ 0 h 6858000"/>
              <a:gd name="connsiteX0" fmla="*/ 2971144 w 8943533"/>
              <a:gd name="connsiteY0" fmla="*/ 1101 h 6859101"/>
              <a:gd name="connsiteX1" fmla="*/ 7752484 w 8943533"/>
              <a:gd name="connsiteY1" fmla="*/ 1101 h 6859101"/>
              <a:gd name="connsiteX2" fmla="*/ 8879965 w 8943533"/>
              <a:gd name="connsiteY2" fmla="*/ 0 h 6859101"/>
              <a:gd name="connsiteX3" fmla="*/ 8875759 w 8943533"/>
              <a:gd name="connsiteY3" fmla="*/ 1139344 h 6859101"/>
              <a:gd name="connsiteX4" fmla="*/ 8527206 w 8943533"/>
              <a:gd name="connsiteY4" fmla="*/ 1632760 h 6859101"/>
              <a:gd name="connsiteX5" fmla="*/ 8527206 w 8943533"/>
              <a:gd name="connsiteY5" fmla="*/ 6859101 h 6859101"/>
              <a:gd name="connsiteX6" fmla="*/ 1968306 w 8943533"/>
              <a:gd name="connsiteY6" fmla="*/ 6859101 h 6859101"/>
              <a:gd name="connsiteX7" fmla="*/ 1963205 w 8943533"/>
              <a:gd name="connsiteY7" fmla="*/ 6856731 h 6859101"/>
              <a:gd name="connsiteX8" fmla="*/ 1098144 w 8943533"/>
              <a:gd name="connsiteY8" fmla="*/ 6341169 h 6859101"/>
              <a:gd name="connsiteX9" fmla="*/ 430707 w 8943533"/>
              <a:gd name="connsiteY9" fmla="*/ 5692094 h 6859101"/>
              <a:gd name="connsiteX10" fmla="*/ 561 w 8943533"/>
              <a:gd name="connsiteY10" fmla="*/ 4469800 h 6859101"/>
              <a:gd name="connsiteX11" fmla="*/ 47377 w 8943533"/>
              <a:gd name="connsiteY11" fmla="*/ 3945420 h 6859101"/>
              <a:gd name="connsiteX12" fmla="*/ 62248 w 8943533"/>
              <a:gd name="connsiteY12" fmla="*/ 3833673 h 6859101"/>
              <a:gd name="connsiteX13" fmla="*/ 108969 w 8943533"/>
              <a:gd name="connsiteY13" fmla="*/ 3659999 h 6859101"/>
              <a:gd name="connsiteX14" fmla="*/ 139210 w 8943533"/>
              <a:gd name="connsiteY14" fmla="*/ 3592419 h 6859101"/>
              <a:gd name="connsiteX15" fmla="*/ 486668 w 8943533"/>
              <a:gd name="connsiteY15" fmla="*/ 2815597 h 6859101"/>
              <a:gd name="connsiteX16" fmla="*/ 1140836 w 8943533"/>
              <a:gd name="connsiteY16" fmla="*/ 1858458 h 6859101"/>
              <a:gd name="connsiteX17" fmla="*/ 2283959 w 8943533"/>
              <a:gd name="connsiteY17" fmla="*/ 616417 h 6859101"/>
              <a:gd name="connsiteX18" fmla="*/ 2889393 w 8943533"/>
              <a:gd name="connsiteY18" fmla="*/ 67499 h 6859101"/>
              <a:gd name="connsiteX19" fmla="*/ 2971144 w 8943533"/>
              <a:gd name="connsiteY19" fmla="*/ 1101 h 6859101"/>
              <a:gd name="connsiteX0" fmla="*/ 2971144 w 8914877"/>
              <a:gd name="connsiteY0" fmla="*/ 1101 h 6859101"/>
              <a:gd name="connsiteX1" fmla="*/ 7752484 w 8914877"/>
              <a:gd name="connsiteY1" fmla="*/ 1101 h 6859101"/>
              <a:gd name="connsiteX2" fmla="*/ 8879965 w 8914877"/>
              <a:gd name="connsiteY2" fmla="*/ 0 h 6859101"/>
              <a:gd name="connsiteX3" fmla="*/ 8498857 w 8914877"/>
              <a:gd name="connsiteY3" fmla="*/ 616830 h 6859101"/>
              <a:gd name="connsiteX4" fmla="*/ 8527206 w 8914877"/>
              <a:gd name="connsiteY4" fmla="*/ 1632760 h 6859101"/>
              <a:gd name="connsiteX5" fmla="*/ 8527206 w 8914877"/>
              <a:gd name="connsiteY5" fmla="*/ 6859101 h 6859101"/>
              <a:gd name="connsiteX6" fmla="*/ 1968306 w 8914877"/>
              <a:gd name="connsiteY6" fmla="*/ 6859101 h 6859101"/>
              <a:gd name="connsiteX7" fmla="*/ 1963205 w 8914877"/>
              <a:gd name="connsiteY7" fmla="*/ 6856731 h 6859101"/>
              <a:gd name="connsiteX8" fmla="*/ 1098144 w 8914877"/>
              <a:gd name="connsiteY8" fmla="*/ 6341169 h 6859101"/>
              <a:gd name="connsiteX9" fmla="*/ 430707 w 8914877"/>
              <a:gd name="connsiteY9" fmla="*/ 5692094 h 6859101"/>
              <a:gd name="connsiteX10" fmla="*/ 561 w 8914877"/>
              <a:gd name="connsiteY10" fmla="*/ 4469800 h 6859101"/>
              <a:gd name="connsiteX11" fmla="*/ 47377 w 8914877"/>
              <a:gd name="connsiteY11" fmla="*/ 3945420 h 6859101"/>
              <a:gd name="connsiteX12" fmla="*/ 62248 w 8914877"/>
              <a:gd name="connsiteY12" fmla="*/ 3833673 h 6859101"/>
              <a:gd name="connsiteX13" fmla="*/ 108969 w 8914877"/>
              <a:gd name="connsiteY13" fmla="*/ 3659999 h 6859101"/>
              <a:gd name="connsiteX14" fmla="*/ 139210 w 8914877"/>
              <a:gd name="connsiteY14" fmla="*/ 3592419 h 6859101"/>
              <a:gd name="connsiteX15" fmla="*/ 486668 w 8914877"/>
              <a:gd name="connsiteY15" fmla="*/ 2815597 h 6859101"/>
              <a:gd name="connsiteX16" fmla="*/ 1140836 w 8914877"/>
              <a:gd name="connsiteY16" fmla="*/ 1858458 h 6859101"/>
              <a:gd name="connsiteX17" fmla="*/ 2283959 w 8914877"/>
              <a:gd name="connsiteY17" fmla="*/ 616417 h 6859101"/>
              <a:gd name="connsiteX18" fmla="*/ 2889393 w 8914877"/>
              <a:gd name="connsiteY18" fmla="*/ 67499 h 6859101"/>
              <a:gd name="connsiteX19" fmla="*/ 2971144 w 8914877"/>
              <a:gd name="connsiteY19" fmla="*/ 1101 h 6859101"/>
              <a:gd name="connsiteX0" fmla="*/ 2971144 w 8527206"/>
              <a:gd name="connsiteY0" fmla="*/ 0 h 6858000"/>
              <a:gd name="connsiteX1" fmla="*/ 7752484 w 8527206"/>
              <a:gd name="connsiteY1" fmla="*/ 0 h 6858000"/>
              <a:gd name="connsiteX2" fmla="*/ 8498857 w 8527206"/>
              <a:gd name="connsiteY2" fmla="*/ 615729 h 6858000"/>
              <a:gd name="connsiteX3" fmla="*/ 8527206 w 8527206"/>
              <a:gd name="connsiteY3" fmla="*/ 1631659 h 6858000"/>
              <a:gd name="connsiteX4" fmla="*/ 8527206 w 8527206"/>
              <a:gd name="connsiteY4" fmla="*/ 6858000 h 6858000"/>
              <a:gd name="connsiteX5" fmla="*/ 1968306 w 8527206"/>
              <a:gd name="connsiteY5" fmla="*/ 6858000 h 6858000"/>
              <a:gd name="connsiteX6" fmla="*/ 1963205 w 8527206"/>
              <a:gd name="connsiteY6" fmla="*/ 6855630 h 6858000"/>
              <a:gd name="connsiteX7" fmla="*/ 1098144 w 8527206"/>
              <a:gd name="connsiteY7" fmla="*/ 6340068 h 6858000"/>
              <a:gd name="connsiteX8" fmla="*/ 430707 w 8527206"/>
              <a:gd name="connsiteY8" fmla="*/ 5690993 h 6858000"/>
              <a:gd name="connsiteX9" fmla="*/ 561 w 8527206"/>
              <a:gd name="connsiteY9" fmla="*/ 4468699 h 6858000"/>
              <a:gd name="connsiteX10" fmla="*/ 47377 w 8527206"/>
              <a:gd name="connsiteY10" fmla="*/ 3944319 h 6858000"/>
              <a:gd name="connsiteX11" fmla="*/ 62248 w 8527206"/>
              <a:gd name="connsiteY11" fmla="*/ 3832572 h 6858000"/>
              <a:gd name="connsiteX12" fmla="*/ 108969 w 8527206"/>
              <a:gd name="connsiteY12" fmla="*/ 3658898 h 6858000"/>
              <a:gd name="connsiteX13" fmla="*/ 139210 w 8527206"/>
              <a:gd name="connsiteY13" fmla="*/ 3591318 h 6858000"/>
              <a:gd name="connsiteX14" fmla="*/ 486668 w 8527206"/>
              <a:gd name="connsiteY14" fmla="*/ 2814496 h 6858000"/>
              <a:gd name="connsiteX15" fmla="*/ 1140836 w 8527206"/>
              <a:gd name="connsiteY15" fmla="*/ 1857357 h 6858000"/>
              <a:gd name="connsiteX16" fmla="*/ 2283959 w 8527206"/>
              <a:gd name="connsiteY16" fmla="*/ 615316 h 6858000"/>
              <a:gd name="connsiteX17" fmla="*/ 2889393 w 8527206"/>
              <a:gd name="connsiteY17" fmla="*/ 66398 h 6858000"/>
              <a:gd name="connsiteX18" fmla="*/ 2971144 w 8527206"/>
              <a:gd name="connsiteY18" fmla="*/ 0 h 6858000"/>
              <a:gd name="connsiteX0" fmla="*/ 2971144 w 8531631"/>
              <a:gd name="connsiteY0" fmla="*/ 8385 h 6866385"/>
              <a:gd name="connsiteX1" fmla="*/ 7752484 w 8531631"/>
              <a:gd name="connsiteY1" fmla="*/ 8385 h 6866385"/>
              <a:gd name="connsiteX2" fmla="*/ 8531631 w 8531631"/>
              <a:gd name="connsiteY2" fmla="*/ 0 h 6866385"/>
              <a:gd name="connsiteX3" fmla="*/ 8527206 w 8531631"/>
              <a:gd name="connsiteY3" fmla="*/ 1640044 h 6866385"/>
              <a:gd name="connsiteX4" fmla="*/ 8527206 w 8531631"/>
              <a:gd name="connsiteY4" fmla="*/ 6866385 h 6866385"/>
              <a:gd name="connsiteX5" fmla="*/ 1968306 w 8531631"/>
              <a:gd name="connsiteY5" fmla="*/ 6866385 h 6866385"/>
              <a:gd name="connsiteX6" fmla="*/ 1963205 w 8531631"/>
              <a:gd name="connsiteY6" fmla="*/ 6864015 h 6866385"/>
              <a:gd name="connsiteX7" fmla="*/ 1098144 w 8531631"/>
              <a:gd name="connsiteY7" fmla="*/ 6348453 h 6866385"/>
              <a:gd name="connsiteX8" fmla="*/ 430707 w 8531631"/>
              <a:gd name="connsiteY8" fmla="*/ 5699378 h 6866385"/>
              <a:gd name="connsiteX9" fmla="*/ 561 w 8531631"/>
              <a:gd name="connsiteY9" fmla="*/ 4477084 h 6866385"/>
              <a:gd name="connsiteX10" fmla="*/ 47377 w 8531631"/>
              <a:gd name="connsiteY10" fmla="*/ 3952704 h 6866385"/>
              <a:gd name="connsiteX11" fmla="*/ 62248 w 8531631"/>
              <a:gd name="connsiteY11" fmla="*/ 3840957 h 6866385"/>
              <a:gd name="connsiteX12" fmla="*/ 108969 w 8531631"/>
              <a:gd name="connsiteY12" fmla="*/ 3667283 h 6866385"/>
              <a:gd name="connsiteX13" fmla="*/ 139210 w 8531631"/>
              <a:gd name="connsiteY13" fmla="*/ 3599703 h 6866385"/>
              <a:gd name="connsiteX14" fmla="*/ 486668 w 8531631"/>
              <a:gd name="connsiteY14" fmla="*/ 2822881 h 6866385"/>
              <a:gd name="connsiteX15" fmla="*/ 1140836 w 8531631"/>
              <a:gd name="connsiteY15" fmla="*/ 1865742 h 6866385"/>
              <a:gd name="connsiteX16" fmla="*/ 2283959 w 8531631"/>
              <a:gd name="connsiteY16" fmla="*/ 623701 h 6866385"/>
              <a:gd name="connsiteX17" fmla="*/ 2889393 w 8531631"/>
              <a:gd name="connsiteY17" fmla="*/ 74783 h 6866385"/>
              <a:gd name="connsiteX18" fmla="*/ 2971144 w 8531631"/>
              <a:gd name="connsiteY18" fmla="*/ 8385 h 6866385"/>
              <a:gd name="connsiteX0" fmla="*/ 2971144 w 8527206"/>
              <a:gd name="connsiteY0" fmla="*/ 21085 h 6879085"/>
              <a:gd name="connsiteX1" fmla="*/ 7752484 w 8527206"/>
              <a:gd name="connsiteY1" fmla="*/ 21085 h 6879085"/>
              <a:gd name="connsiteX2" fmla="*/ 8517292 w 8527206"/>
              <a:gd name="connsiteY2" fmla="*/ 0 h 6879085"/>
              <a:gd name="connsiteX3" fmla="*/ 8527206 w 8527206"/>
              <a:gd name="connsiteY3" fmla="*/ 1652744 h 6879085"/>
              <a:gd name="connsiteX4" fmla="*/ 8527206 w 8527206"/>
              <a:gd name="connsiteY4" fmla="*/ 6879085 h 6879085"/>
              <a:gd name="connsiteX5" fmla="*/ 1968306 w 8527206"/>
              <a:gd name="connsiteY5" fmla="*/ 6879085 h 6879085"/>
              <a:gd name="connsiteX6" fmla="*/ 1963205 w 8527206"/>
              <a:gd name="connsiteY6" fmla="*/ 6876715 h 6879085"/>
              <a:gd name="connsiteX7" fmla="*/ 1098144 w 8527206"/>
              <a:gd name="connsiteY7" fmla="*/ 6361153 h 6879085"/>
              <a:gd name="connsiteX8" fmla="*/ 430707 w 8527206"/>
              <a:gd name="connsiteY8" fmla="*/ 5712078 h 6879085"/>
              <a:gd name="connsiteX9" fmla="*/ 561 w 8527206"/>
              <a:gd name="connsiteY9" fmla="*/ 4489784 h 6879085"/>
              <a:gd name="connsiteX10" fmla="*/ 47377 w 8527206"/>
              <a:gd name="connsiteY10" fmla="*/ 3965404 h 6879085"/>
              <a:gd name="connsiteX11" fmla="*/ 62248 w 8527206"/>
              <a:gd name="connsiteY11" fmla="*/ 3853657 h 6879085"/>
              <a:gd name="connsiteX12" fmla="*/ 108969 w 8527206"/>
              <a:gd name="connsiteY12" fmla="*/ 3679983 h 6879085"/>
              <a:gd name="connsiteX13" fmla="*/ 139210 w 8527206"/>
              <a:gd name="connsiteY13" fmla="*/ 3612403 h 6879085"/>
              <a:gd name="connsiteX14" fmla="*/ 486668 w 8527206"/>
              <a:gd name="connsiteY14" fmla="*/ 2835581 h 6879085"/>
              <a:gd name="connsiteX15" fmla="*/ 1140836 w 8527206"/>
              <a:gd name="connsiteY15" fmla="*/ 1878442 h 6879085"/>
              <a:gd name="connsiteX16" fmla="*/ 2283959 w 8527206"/>
              <a:gd name="connsiteY16" fmla="*/ 636401 h 6879085"/>
              <a:gd name="connsiteX17" fmla="*/ 2889393 w 8527206"/>
              <a:gd name="connsiteY17" fmla="*/ 87483 h 6879085"/>
              <a:gd name="connsiteX18" fmla="*/ 2971144 w 8527206"/>
              <a:gd name="connsiteY18" fmla="*/ 21085 h 687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79085">
                <a:moveTo>
                  <a:pt x="2971144" y="21085"/>
                </a:moveTo>
                <a:lnTo>
                  <a:pt x="7752484" y="21085"/>
                </a:lnTo>
                <a:lnTo>
                  <a:pt x="8517292" y="0"/>
                </a:lnTo>
                <a:cubicBezTo>
                  <a:pt x="8520597" y="550915"/>
                  <a:pt x="8523901" y="1101829"/>
                  <a:pt x="8527206" y="1652744"/>
                </a:cubicBezTo>
                <a:lnTo>
                  <a:pt x="8527206" y="6879085"/>
                </a:lnTo>
                <a:lnTo>
                  <a:pt x="1968306" y="6879085"/>
                </a:lnTo>
                <a:lnTo>
                  <a:pt x="1963205" y="6876715"/>
                </a:lnTo>
                <a:cubicBezTo>
                  <a:pt x="1660296" y="6729085"/>
                  <a:pt x="1369305" y="6562034"/>
                  <a:pt x="1098144" y="6361153"/>
                </a:cubicBezTo>
                <a:cubicBezTo>
                  <a:pt x="846763" y="6174731"/>
                  <a:pt x="618854" y="5964164"/>
                  <a:pt x="430707" y="5712078"/>
                </a:cubicBezTo>
                <a:cubicBezTo>
                  <a:pt x="160576" y="5349599"/>
                  <a:pt x="10446" y="4944560"/>
                  <a:pt x="561" y="4489784"/>
                </a:cubicBezTo>
                <a:cubicBezTo>
                  <a:pt x="-3349" y="4313367"/>
                  <a:pt x="13298" y="4138562"/>
                  <a:pt x="47377" y="3965404"/>
                </a:cubicBezTo>
                <a:cubicBezTo>
                  <a:pt x="54591" y="3928616"/>
                  <a:pt x="57532" y="3891117"/>
                  <a:pt x="62248" y="3853657"/>
                </a:cubicBezTo>
                <a:lnTo>
                  <a:pt x="108969" y="3679983"/>
                </a:lnTo>
                <a:cubicBezTo>
                  <a:pt x="119050" y="3657455"/>
                  <a:pt x="131522" y="3636010"/>
                  <a:pt x="139210" y="3612403"/>
                </a:cubicBezTo>
                <a:cubicBezTo>
                  <a:pt x="227692" y="3341611"/>
                  <a:pt x="347049" y="3083914"/>
                  <a:pt x="486668" y="2835581"/>
                </a:cubicBezTo>
                <a:cubicBezTo>
                  <a:pt x="676736" y="2497691"/>
                  <a:pt x="899048" y="2181095"/>
                  <a:pt x="1140836" y="1878442"/>
                </a:cubicBezTo>
                <a:cubicBezTo>
                  <a:pt x="1492243" y="1437311"/>
                  <a:pt x="1878074" y="1027633"/>
                  <a:pt x="2283959" y="636401"/>
                </a:cubicBezTo>
                <a:cubicBezTo>
                  <a:pt x="2480507" y="447118"/>
                  <a:pt x="2681614" y="263303"/>
                  <a:pt x="2889393" y="87483"/>
                </a:cubicBezTo>
                <a:lnTo>
                  <a:pt x="2971144" y="21085"/>
                </a:lnTo>
                <a:close/>
              </a:path>
            </a:pathLst>
          </a:custGeom>
          <a:solidFill>
            <a:schemeClr val="accent6">
              <a:lumMod val="20000"/>
              <a:lumOff val="80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707717788"/>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0"/>
            <a:ext cx="4992914"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xmlns="" id="{D761995D-0DF1-4E05-86F9-8FDA25736C54}"/>
              </a:ext>
            </a:extLst>
          </p:cNvPr>
          <p:cNvSpPr>
            <a:spLocks noGrp="1"/>
          </p:cNvSpPr>
          <p:nvPr>
            <p:ph type="title"/>
          </p:nvPr>
        </p:nvSpPr>
        <p:spPr>
          <a:xfrm>
            <a:off x="5237427" y="230315"/>
            <a:ext cx="6620744"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xmlns="" id="{634D9C7A-5BAD-4769-A6FA-F5D17B27ACD4}"/>
              </a:ext>
            </a:extLst>
          </p:cNvPr>
          <p:cNvSpPr>
            <a:spLocks noGrp="1"/>
          </p:cNvSpPr>
          <p:nvPr>
            <p:ph type="body" sz="quarter" idx="17"/>
          </p:nvPr>
        </p:nvSpPr>
        <p:spPr>
          <a:xfrm>
            <a:off x="5237427" y="843417"/>
            <a:ext cx="6620744"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01721504"/>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7199086" y="0"/>
            <a:ext cx="4992914"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7" name="Title 1">
            <a:extLst>
              <a:ext uri="{FF2B5EF4-FFF2-40B4-BE49-F238E27FC236}">
                <a16:creationId xmlns:a16="http://schemas.microsoft.com/office/drawing/2014/main" xmlns="" id="{82560FEA-821F-4038-85D3-E058A399FEAA}"/>
              </a:ext>
            </a:extLst>
          </p:cNvPr>
          <p:cNvSpPr>
            <a:spLocks noGrp="1"/>
          </p:cNvSpPr>
          <p:nvPr>
            <p:ph type="title"/>
          </p:nvPr>
        </p:nvSpPr>
        <p:spPr>
          <a:xfrm>
            <a:off x="723900" y="230315"/>
            <a:ext cx="63246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xmlns="" id="{695859B5-3F97-4723-B598-3A1EF775910E}"/>
              </a:ext>
            </a:extLst>
          </p:cNvPr>
          <p:cNvSpPr>
            <a:spLocks noGrp="1"/>
          </p:cNvSpPr>
          <p:nvPr>
            <p:ph type="body" sz="quarter" idx="17"/>
          </p:nvPr>
        </p:nvSpPr>
        <p:spPr>
          <a:xfrm>
            <a:off x="723901" y="843417"/>
            <a:ext cx="6324599"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489658621"/>
      </p:ext>
    </p:extLst>
  </p:cSld>
  <p:clrMapOvr>
    <a:masterClrMapping/>
  </p:clrMapOvr>
  <p:extLst mod="1">
    <p:ext uri="{DCECCB84-F9BA-43D5-87BE-67443E8EF086}">
      <p15:sldGuideLst xmlns:p15="http://schemas.microsoft.com/office/powerpoint/2012/main" xmlns="">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dirty="0"/>
              <a:t>SlideModel.com</a:t>
            </a:r>
          </a:p>
        </p:txBody>
      </p:sp>
    </p:spTree>
    <p:extLst>
      <p:ext uri="{BB962C8B-B14F-4D97-AF65-F5344CB8AC3E}">
        <p14:creationId xmlns:p14="http://schemas.microsoft.com/office/powerpoint/2010/main" val="31845831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A17AB0CF-A801-4CA8-A194-BDE574B29171}"/>
              </a:ext>
            </a:extLst>
          </p:cNvPr>
          <p:cNvSpPr>
            <a:spLocks noChangeArrowheads="1"/>
          </p:cNvSpPr>
          <p:nvPr userDrawn="1"/>
        </p:nvSpPr>
        <p:spPr bwMode="auto">
          <a:xfrm>
            <a:off x="1" y="-3938"/>
            <a:ext cx="12192000" cy="6861938"/>
          </a:xfrm>
          <a:prstGeom prst="rect">
            <a:avLst/>
          </a:prstGeom>
          <a:gradFill flip="none" rotWithShape="1">
            <a:gsLst>
              <a:gs pos="0">
                <a:schemeClr val="accent1"/>
              </a:gs>
              <a:gs pos="100000">
                <a:schemeClr val="accent3"/>
              </a:gs>
            </a:gsLst>
            <a:lin ang="2700000" scaled="1"/>
            <a:tileRect/>
          </a:gradFill>
          <a:ln w="9525">
            <a:noFill/>
            <a:miter lim="800000"/>
            <a:headEnd/>
            <a:tailEnd/>
          </a:ln>
        </p:spPr>
        <p:txBody>
          <a:bodyPr vert="horz" wrap="square" lIns="91440" tIns="45720" rIns="91440" bIns="45720" numCol="1" anchor="t" anchorCtr="0" compatLnSpc="1">
            <a:prstTxWarp prst="textNoShape">
              <a:avLst/>
            </a:prstTxWarp>
          </a:bodyPr>
          <a:lstStyle/>
          <a:p>
            <a:endParaRPr lang="en-IN" sz="1800"/>
          </a:p>
        </p:txBody>
      </p:sp>
      <p:sp>
        <p:nvSpPr>
          <p:cNvPr id="22" name="Freeform: Shape 21">
            <a:extLst>
              <a:ext uri="{FF2B5EF4-FFF2-40B4-BE49-F238E27FC236}">
                <a16:creationId xmlns:a16="http://schemas.microsoft.com/office/drawing/2014/main" xmlns="" id="{65C1D0A4-8E3A-4BDB-BA57-59F64DB4CC4D}"/>
              </a:ext>
            </a:extLst>
          </p:cNvPr>
          <p:cNvSpPr>
            <a:spLocks/>
          </p:cNvSpPr>
          <p:nvPr userDrawn="1"/>
        </p:nvSpPr>
        <p:spPr bwMode="auto">
          <a:xfrm>
            <a:off x="8677112" y="-3939"/>
            <a:ext cx="3514887" cy="3346940"/>
          </a:xfrm>
          <a:custGeom>
            <a:avLst/>
            <a:gdLst>
              <a:gd name="connsiteX0" fmla="*/ 2913417 w 3513972"/>
              <a:gd name="connsiteY0" fmla="*/ 0 h 3346940"/>
              <a:gd name="connsiteX1" fmla="*/ 3513972 w 3513972"/>
              <a:gd name="connsiteY1" fmla="*/ 0 h 3346940"/>
              <a:gd name="connsiteX2" fmla="*/ 3513972 w 3513972"/>
              <a:gd name="connsiteY2" fmla="*/ 279302 h 3346940"/>
              <a:gd name="connsiteX3" fmla="*/ 540890 w 3513972"/>
              <a:gd name="connsiteY3" fmla="*/ 3246877 h 3346940"/>
              <a:gd name="connsiteX4" fmla="*/ 535325 w 3513972"/>
              <a:gd name="connsiteY4" fmla="*/ 3253409 h 3346940"/>
              <a:gd name="connsiteX5" fmla="*/ 89220 w 3513972"/>
              <a:gd name="connsiteY5" fmla="*/ 3253409 h 3346940"/>
              <a:gd name="connsiteX6" fmla="*/ 50186 w 3513972"/>
              <a:gd name="connsiteY6" fmla="*/ 2862068 h 3346940"/>
              <a:gd name="connsiteX7" fmla="*/ 88831 w 3513972"/>
              <a:gd name="connsiteY7" fmla="*/ 2814436 h 3346940"/>
              <a:gd name="connsiteX8" fmla="*/ 88383 w 3513972"/>
              <a:gd name="connsiteY8" fmla="*/ 2813995 h 3346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3972" h="3346940">
                <a:moveTo>
                  <a:pt x="2913417" y="0"/>
                </a:moveTo>
                <a:lnTo>
                  <a:pt x="3513972" y="0"/>
                </a:lnTo>
                <a:lnTo>
                  <a:pt x="3513972" y="279302"/>
                </a:lnTo>
                <a:lnTo>
                  <a:pt x="540890" y="3246877"/>
                </a:lnTo>
                <a:lnTo>
                  <a:pt x="535325" y="3253409"/>
                </a:lnTo>
                <a:cubicBezTo>
                  <a:pt x="410415" y="3378118"/>
                  <a:pt x="214129" y="3378118"/>
                  <a:pt x="89220" y="3253409"/>
                </a:cubicBezTo>
                <a:cubicBezTo>
                  <a:pt x="-14871" y="3149484"/>
                  <a:pt x="-27882" y="2981906"/>
                  <a:pt x="50186" y="2862068"/>
                </a:cubicBezTo>
                <a:lnTo>
                  <a:pt x="88831" y="2814436"/>
                </a:lnTo>
                <a:lnTo>
                  <a:pt x="88383" y="2813995"/>
                </a:lnTo>
                <a:close/>
              </a:path>
            </a:pathLst>
          </a:custGeom>
          <a:solidFill>
            <a:schemeClr val="bg1">
              <a:alpha val="1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13" name="Freeform 10">
            <a:extLst>
              <a:ext uri="{FF2B5EF4-FFF2-40B4-BE49-F238E27FC236}">
                <a16:creationId xmlns:a16="http://schemas.microsoft.com/office/drawing/2014/main" xmlns="" id="{B3465D94-4698-4970-BDE2-65BFAD1BE324}"/>
              </a:ext>
            </a:extLst>
          </p:cNvPr>
          <p:cNvSpPr>
            <a:spLocks/>
          </p:cNvSpPr>
          <p:nvPr userDrawn="1"/>
        </p:nvSpPr>
        <p:spPr bwMode="auto">
          <a:xfrm>
            <a:off x="2494662" y="-3938"/>
            <a:ext cx="9470967" cy="6858905"/>
          </a:xfrm>
          <a:custGeom>
            <a:avLst/>
            <a:gdLst>
              <a:gd name="T0" fmla="*/ 6204 w 8552"/>
              <a:gd name="T1" fmla="*/ 0 h 6195"/>
              <a:gd name="T2" fmla="*/ 0 w 8552"/>
              <a:gd name="T3" fmla="*/ 6195 h 6195"/>
              <a:gd name="T4" fmla="*/ 2348 w 8552"/>
              <a:gd name="T5" fmla="*/ 6195 h 6195"/>
              <a:gd name="T6" fmla="*/ 8552 w 8552"/>
              <a:gd name="T7" fmla="*/ 0 h 6195"/>
              <a:gd name="T8" fmla="*/ 6204 w 8552"/>
              <a:gd name="T9" fmla="*/ 0 h 6195"/>
            </a:gdLst>
            <a:ahLst/>
            <a:cxnLst>
              <a:cxn ang="0">
                <a:pos x="T0" y="T1"/>
              </a:cxn>
              <a:cxn ang="0">
                <a:pos x="T2" y="T3"/>
              </a:cxn>
              <a:cxn ang="0">
                <a:pos x="T4" y="T5"/>
              </a:cxn>
              <a:cxn ang="0">
                <a:pos x="T6" y="T7"/>
              </a:cxn>
              <a:cxn ang="0">
                <a:pos x="T8" y="T9"/>
              </a:cxn>
            </a:cxnLst>
            <a:rect l="0" t="0" r="r" b="b"/>
            <a:pathLst>
              <a:path w="8552" h="6195">
                <a:moveTo>
                  <a:pt x="6204" y="0"/>
                </a:moveTo>
                <a:lnTo>
                  <a:pt x="0" y="6195"/>
                </a:lnTo>
                <a:lnTo>
                  <a:pt x="2348" y="6195"/>
                </a:lnTo>
                <a:lnTo>
                  <a:pt x="8552" y="0"/>
                </a:lnTo>
                <a:lnTo>
                  <a:pt x="6204" y="0"/>
                </a:lnTo>
                <a:close/>
              </a:path>
            </a:pathLst>
          </a:custGeom>
          <a:solidFill>
            <a:schemeClr val="bg1">
              <a:alpha val="1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IN" sz="1800"/>
          </a:p>
        </p:txBody>
      </p:sp>
      <p:sp>
        <p:nvSpPr>
          <p:cNvPr id="25" name="Freeform: Shape 24">
            <a:extLst>
              <a:ext uri="{FF2B5EF4-FFF2-40B4-BE49-F238E27FC236}">
                <a16:creationId xmlns:a16="http://schemas.microsoft.com/office/drawing/2014/main" xmlns="" id="{6FC04550-1F96-4395-B436-0C5D4753FE73}"/>
              </a:ext>
            </a:extLst>
          </p:cNvPr>
          <p:cNvSpPr>
            <a:spLocks/>
          </p:cNvSpPr>
          <p:nvPr userDrawn="1"/>
        </p:nvSpPr>
        <p:spPr bwMode="auto">
          <a:xfrm>
            <a:off x="4454628" y="-3938"/>
            <a:ext cx="5566421" cy="4868421"/>
          </a:xfrm>
          <a:custGeom>
            <a:avLst/>
            <a:gdLst>
              <a:gd name="connsiteX0" fmla="*/ 4191644 w 5564971"/>
              <a:gd name="connsiteY0" fmla="*/ 0 h 4868421"/>
              <a:gd name="connsiteX1" fmla="*/ 5564971 w 5564971"/>
              <a:gd name="connsiteY1" fmla="*/ 0 h 4868421"/>
              <a:gd name="connsiteX2" fmla="*/ 832293 w 5564971"/>
              <a:gd name="connsiteY2" fmla="*/ 4726053 h 4868421"/>
              <a:gd name="connsiteX3" fmla="*/ 832223 w 5564971"/>
              <a:gd name="connsiteY3" fmla="*/ 4725984 h 4868421"/>
              <a:gd name="connsiteX4" fmla="*/ 755896 w 5564971"/>
              <a:gd name="connsiteY4" fmla="*/ 4788243 h 4868421"/>
              <a:gd name="connsiteX5" fmla="*/ 142689 w 5564971"/>
              <a:gd name="connsiteY5" fmla="*/ 4725881 h 4868421"/>
              <a:gd name="connsiteX6" fmla="*/ 80263 w 5564971"/>
              <a:gd name="connsiteY6" fmla="*/ 4117289 h 4868421"/>
              <a:gd name="connsiteX7" fmla="*/ 142600 w 5564971"/>
              <a:gd name="connsiteY7" fmla="*/ 4042981 h 4868421"/>
              <a:gd name="connsiteX8" fmla="*/ 142318 w 5564971"/>
              <a:gd name="connsiteY8" fmla="*/ 4042702 h 4868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4971" h="4868421">
                <a:moveTo>
                  <a:pt x="4191644" y="0"/>
                </a:moveTo>
                <a:lnTo>
                  <a:pt x="5564971" y="0"/>
                </a:lnTo>
                <a:lnTo>
                  <a:pt x="832293" y="4726053"/>
                </a:lnTo>
                <a:lnTo>
                  <a:pt x="832223" y="4725984"/>
                </a:lnTo>
                <a:lnTo>
                  <a:pt x="755896" y="4788243"/>
                </a:lnTo>
                <a:cubicBezTo>
                  <a:pt x="566667" y="4912966"/>
                  <a:pt x="309158" y="4892178"/>
                  <a:pt x="142689" y="4725881"/>
                </a:cubicBezTo>
                <a:cubicBezTo>
                  <a:pt x="-23781" y="4559584"/>
                  <a:pt x="-44590" y="4302343"/>
                  <a:pt x="80263" y="4117289"/>
                </a:cubicBezTo>
                <a:lnTo>
                  <a:pt x="142600" y="4042981"/>
                </a:lnTo>
                <a:lnTo>
                  <a:pt x="142318" y="4042702"/>
                </a:lnTo>
                <a:close/>
              </a:path>
            </a:pathLst>
          </a:custGeom>
          <a:solidFill>
            <a:schemeClr val="bg1">
              <a:alpha val="1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3" name="Freeform: Shape 22">
            <a:extLst>
              <a:ext uri="{FF2B5EF4-FFF2-40B4-BE49-F238E27FC236}">
                <a16:creationId xmlns:a16="http://schemas.microsoft.com/office/drawing/2014/main" xmlns="" id="{DA7A7EF6-1E0B-4432-BF67-9C74D78547CA}"/>
              </a:ext>
            </a:extLst>
          </p:cNvPr>
          <p:cNvSpPr>
            <a:spLocks/>
          </p:cNvSpPr>
          <p:nvPr userDrawn="1"/>
        </p:nvSpPr>
        <p:spPr bwMode="auto">
          <a:xfrm>
            <a:off x="1" y="1038973"/>
            <a:ext cx="5852549" cy="5819568"/>
          </a:xfrm>
          <a:custGeom>
            <a:avLst/>
            <a:gdLst>
              <a:gd name="connsiteX0" fmla="*/ 4757495 w 5851025"/>
              <a:gd name="connsiteY0" fmla="*/ 0 h 5819568"/>
              <a:gd name="connsiteX1" fmla="*/ 5529880 w 5851025"/>
              <a:gd name="connsiteY1" fmla="*/ 316157 h 5819568"/>
              <a:gd name="connsiteX2" fmla="*/ 5529880 w 5851025"/>
              <a:gd name="connsiteY2" fmla="*/ 1853896 h 5819568"/>
              <a:gd name="connsiteX3" fmla="*/ 5529675 w 5851025"/>
              <a:gd name="connsiteY3" fmla="*/ 1854082 h 5819568"/>
              <a:gd name="connsiteX4" fmla="*/ 5529737 w 5851025"/>
              <a:gd name="connsiteY4" fmla="*/ 1854144 h 5819568"/>
              <a:gd name="connsiteX5" fmla="*/ 1564312 w 5851025"/>
              <a:gd name="connsiteY5" fmla="*/ 5819568 h 5819568"/>
              <a:gd name="connsiteX6" fmla="*/ 0 w 5851025"/>
              <a:gd name="connsiteY6" fmla="*/ 5819568 h 5819568"/>
              <a:gd name="connsiteX7" fmla="*/ 0 w 5851025"/>
              <a:gd name="connsiteY7" fmla="*/ 4299415 h 5819568"/>
              <a:gd name="connsiteX8" fmla="*/ 3986608 w 5851025"/>
              <a:gd name="connsiteY8" fmla="*/ 319427 h 5819568"/>
              <a:gd name="connsiteX9" fmla="*/ 3989570 w 5851025"/>
              <a:gd name="connsiteY9" fmla="*/ 316157 h 5819568"/>
              <a:gd name="connsiteX10" fmla="*/ 4757495 w 5851025"/>
              <a:gd name="connsiteY10" fmla="*/ 0 h 58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1025" h="5819568">
                <a:moveTo>
                  <a:pt x="4757495" y="0"/>
                </a:moveTo>
                <a:cubicBezTo>
                  <a:pt x="5036267" y="0"/>
                  <a:pt x="5315783" y="105385"/>
                  <a:pt x="5529880" y="316157"/>
                </a:cubicBezTo>
                <a:cubicBezTo>
                  <a:pt x="5958074" y="743636"/>
                  <a:pt x="5958074" y="1432354"/>
                  <a:pt x="5529880" y="1853896"/>
                </a:cubicBezTo>
                <a:lnTo>
                  <a:pt x="5529675" y="1854082"/>
                </a:lnTo>
                <a:lnTo>
                  <a:pt x="5529737" y="1854144"/>
                </a:lnTo>
                <a:lnTo>
                  <a:pt x="1564312" y="5819568"/>
                </a:lnTo>
                <a:lnTo>
                  <a:pt x="0" y="5819568"/>
                </a:lnTo>
                <a:lnTo>
                  <a:pt x="0" y="4299415"/>
                </a:lnTo>
                <a:lnTo>
                  <a:pt x="3986608" y="319427"/>
                </a:lnTo>
                <a:lnTo>
                  <a:pt x="3989570" y="316157"/>
                </a:lnTo>
                <a:cubicBezTo>
                  <a:pt x="4200694" y="105385"/>
                  <a:pt x="4478723" y="0"/>
                  <a:pt x="4757495" y="0"/>
                </a:cubicBezTo>
                <a:close/>
              </a:path>
            </a:pathLst>
          </a:custGeom>
          <a:solidFill>
            <a:schemeClr val="bg1">
              <a:alpha val="1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4" name="Freeform: Shape 23">
            <a:extLst>
              <a:ext uri="{FF2B5EF4-FFF2-40B4-BE49-F238E27FC236}">
                <a16:creationId xmlns:a16="http://schemas.microsoft.com/office/drawing/2014/main" xmlns="" id="{5E6C6813-725A-430B-93B8-5DBAC86295AB}"/>
              </a:ext>
            </a:extLst>
          </p:cNvPr>
          <p:cNvSpPr>
            <a:spLocks/>
          </p:cNvSpPr>
          <p:nvPr userDrawn="1"/>
        </p:nvSpPr>
        <p:spPr bwMode="auto">
          <a:xfrm>
            <a:off x="268909" y="-3938"/>
            <a:ext cx="3978029" cy="3698123"/>
          </a:xfrm>
          <a:custGeom>
            <a:avLst/>
            <a:gdLst>
              <a:gd name="connsiteX0" fmla="*/ 3441572 w 3976993"/>
              <a:gd name="connsiteY0" fmla="*/ 0 h 3698123"/>
              <a:gd name="connsiteX1" fmla="*/ 3976993 w 3976993"/>
              <a:gd name="connsiteY1" fmla="*/ 0 h 3698123"/>
              <a:gd name="connsiteX2" fmla="*/ 319573 w 3976993"/>
              <a:gd name="connsiteY2" fmla="*/ 3645276 h 3698123"/>
              <a:gd name="connsiteX3" fmla="*/ 319362 w 3976993"/>
              <a:gd name="connsiteY3" fmla="*/ 3645060 h 3698123"/>
              <a:gd name="connsiteX4" fmla="*/ 258903 w 3976993"/>
              <a:gd name="connsiteY4" fmla="*/ 3684768 h 3698123"/>
              <a:gd name="connsiteX5" fmla="*/ 58030 w 3976993"/>
              <a:gd name="connsiteY5" fmla="*/ 3644702 h 3698123"/>
              <a:gd name="connsiteX6" fmla="*/ 58030 w 3976993"/>
              <a:gd name="connsiteY6" fmla="*/ 3377591 h 3698123"/>
              <a:gd name="connsiteX7" fmla="*/ 62516 w 3976993"/>
              <a:gd name="connsiteY7" fmla="*/ 3374645 h 369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76993" h="3698123">
                <a:moveTo>
                  <a:pt x="3441572" y="0"/>
                </a:moveTo>
                <a:lnTo>
                  <a:pt x="3976993" y="0"/>
                </a:lnTo>
                <a:lnTo>
                  <a:pt x="319573" y="3645276"/>
                </a:lnTo>
                <a:lnTo>
                  <a:pt x="319362" y="3645060"/>
                </a:lnTo>
                <a:lnTo>
                  <a:pt x="258903" y="3684768"/>
                </a:lnTo>
                <a:cubicBezTo>
                  <a:pt x="191945" y="3711479"/>
                  <a:pt x="111596" y="3698124"/>
                  <a:pt x="58030" y="3644702"/>
                </a:cubicBezTo>
                <a:cubicBezTo>
                  <a:pt x="-19343" y="3573472"/>
                  <a:pt x="-19343" y="3454756"/>
                  <a:pt x="58030" y="3377591"/>
                </a:cubicBezTo>
                <a:lnTo>
                  <a:pt x="62516" y="3374645"/>
                </a:lnTo>
                <a:close/>
              </a:path>
            </a:pathLst>
          </a:custGeom>
          <a:solidFill>
            <a:schemeClr val="bg1">
              <a:alpha val="1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1" name="Freeform: Shape 20">
            <a:extLst>
              <a:ext uri="{FF2B5EF4-FFF2-40B4-BE49-F238E27FC236}">
                <a16:creationId xmlns:a16="http://schemas.microsoft.com/office/drawing/2014/main" xmlns="" id="{B4C3F3B2-30E7-497F-941D-2D7F25D48B47}"/>
              </a:ext>
            </a:extLst>
          </p:cNvPr>
          <p:cNvSpPr>
            <a:spLocks/>
          </p:cNvSpPr>
          <p:nvPr userDrawn="1"/>
        </p:nvSpPr>
        <p:spPr bwMode="auto">
          <a:xfrm>
            <a:off x="6416258" y="3587390"/>
            <a:ext cx="3539446" cy="3270611"/>
          </a:xfrm>
          <a:custGeom>
            <a:avLst/>
            <a:gdLst>
              <a:gd name="connsiteX0" fmla="*/ 3353276 w 3538524"/>
              <a:gd name="connsiteY0" fmla="*/ 0 h 3270611"/>
              <a:gd name="connsiteX1" fmla="*/ 3484959 w 3538524"/>
              <a:gd name="connsiteY1" fmla="*/ 53422 h 3270611"/>
              <a:gd name="connsiteX2" fmla="*/ 3484959 w 3538524"/>
              <a:gd name="connsiteY2" fmla="*/ 320533 h 3270611"/>
              <a:gd name="connsiteX3" fmla="*/ 3483252 w 3538524"/>
              <a:gd name="connsiteY3" fmla="*/ 321652 h 3270611"/>
              <a:gd name="connsiteX4" fmla="*/ 3484624 w 3538524"/>
              <a:gd name="connsiteY4" fmla="*/ 323024 h 3270611"/>
              <a:gd name="connsiteX5" fmla="*/ 532589 w 3538524"/>
              <a:gd name="connsiteY5" fmla="*/ 3270611 h 3270611"/>
              <a:gd name="connsiteX6" fmla="*/ 0 w 3538524"/>
              <a:gd name="connsiteY6" fmla="*/ 3270611 h 3270611"/>
              <a:gd name="connsiteX7" fmla="*/ 3215550 w 3538524"/>
              <a:gd name="connsiteY7" fmla="*/ 53949 h 3270611"/>
              <a:gd name="connsiteX8" fmla="*/ 3216318 w 3538524"/>
              <a:gd name="connsiteY8" fmla="*/ 54717 h 3270611"/>
              <a:gd name="connsiteX9" fmla="*/ 3217128 w 3538524"/>
              <a:gd name="connsiteY9" fmla="*/ 53422 h 3270611"/>
              <a:gd name="connsiteX10" fmla="*/ 3353276 w 3538524"/>
              <a:gd name="connsiteY10" fmla="*/ 0 h 327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8524" h="3270611">
                <a:moveTo>
                  <a:pt x="3353276" y="0"/>
                </a:moveTo>
                <a:cubicBezTo>
                  <a:pt x="3401634" y="0"/>
                  <a:pt x="3449248" y="17807"/>
                  <a:pt x="3484959" y="53422"/>
                </a:cubicBezTo>
                <a:cubicBezTo>
                  <a:pt x="3556380" y="130587"/>
                  <a:pt x="3556380" y="249303"/>
                  <a:pt x="3484959" y="320533"/>
                </a:cubicBezTo>
                <a:lnTo>
                  <a:pt x="3483252" y="321652"/>
                </a:lnTo>
                <a:lnTo>
                  <a:pt x="3484624" y="323024"/>
                </a:lnTo>
                <a:lnTo>
                  <a:pt x="532589" y="3270611"/>
                </a:lnTo>
                <a:lnTo>
                  <a:pt x="0" y="3270611"/>
                </a:lnTo>
                <a:lnTo>
                  <a:pt x="3215550" y="53949"/>
                </a:lnTo>
                <a:lnTo>
                  <a:pt x="3216318" y="54717"/>
                </a:lnTo>
                <a:lnTo>
                  <a:pt x="3217128" y="53422"/>
                </a:lnTo>
                <a:cubicBezTo>
                  <a:pt x="3255815" y="17807"/>
                  <a:pt x="3304917" y="0"/>
                  <a:pt x="3353276" y="0"/>
                </a:cubicBezTo>
                <a:close/>
              </a:path>
            </a:pathLst>
          </a:custGeom>
          <a:solidFill>
            <a:schemeClr val="bg1">
              <a:alpha val="1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cxnSp>
        <p:nvCxnSpPr>
          <p:cNvPr id="19" name="Straight Connector 18">
            <a:extLst>
              <a:ext uri="{FF2B5EF4-FFF2-40B4-BE49-F238E27FC236}">
                <a16:creationId xmlns:a16="http://schemas.microsoft.com/office/drawing/2014/main" xmlns="" id="{1269B1AF-F6F1-4A87-9255-0904F1FB7F71}"/>
              </a:ext>
            </a:extLst>
          </p:cNvPr>
          <p:cNvCxnSpPr/>
          <p:nvPr userDrawn="1"/>
        </p:nvCxnSpPr>
        <p:spPr>
          <a:xfrm flipH="1">
            <a:off x="7920121" y="-3938"/>
            <a:ext cx="3073698" cy="307289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67966618-9061-47F5-BCC8-059835F090BE}"/>
              </a:ext>
            </a:extLst>
          </p:cNvPr>
          <p:cNvCxnSpPr>
            <a:cxnSpLocks/>
          </p:cNvCxnSpPr>
          <p:nvPr userDrawn="1"/>
        </p:nvCxnSpPr>
        <p:spPr>
          <a:xfrm flipH="1">
            <a:off x="-17633" y="3029744"/>
            <a:ext cx="1737841" cy="173738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591707" y="3174422"/>
            <a:ext cx="5360240" cy="2502827"/>
          </a:xfrm>
        </p:spPr>
        <p:txBody>
          <a:bodyPr lIns="0" rIns="0" anchor="b">
            <a:noAutofit/>
          </a:bodyPr>
          <a:lstStyle>
            <a:lvl1pPr algn="l">
              <a:lnSpc>
                <a:spcPct val="80000"/>
              </a:lnSpc>
              <a:defRPr lang="en-US" sz="6600" b="1"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p:cNvSpPr>
            <a:spLocks noGrp="1"/>
          </p:cNvSpPr>
          <p:nvPr>
            <p:ph type="subTitle" idx="1"/>
          </p:nvPr>
        </p:nvSpPr>
        <p:spPr>
          <a:xfrm>
            <a:off x="591706" y="5682374"/>
            <a:ext cx="5360240" cy="554938"/>
          </a:xfrm>
        </p:spPr>
        <p:txBody>
          <a:bodyPr lIns="0" rIns="0">
            <a:normAutofit/>
          </a:bodyPr>
          <a:lstStyle>
            <a:lvl1pPr marL="0" indent="0" algn="l">
              <a:buNone/>
              <a:defRPr lang="en-US" sz="2400" kern="120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609468" indent="0" algn="ctr">
              <a:buNone/>
              <a:defRPr>
                <a:solidFill>
                  <a:schemeClr val="tx1">
                    <a:tint val="75000"/>
                  </a:schemeClr>
                </a:solidFill>
              </a:defRPr>
            </a:lvl2pPr>
            <a:lvl3pPr marL="1218936" indent="0" algn="ctr">
              <a:buNone/>
              <a:defRPr>
                <a:solidFill>
                  <a:schemeClr val="tx1">
                    <a:tint val="75000"/>
                  </a:schemeClr>
                </a:solidFill>
              </a:defRPr>
            </a:lvl3pPr>
            <a:lvl4pPr marL="1828404" indent="0" algn="ctr">
              <a:buNone/>
              <a:defRPr>
                <a:solidFill>
                  <a:schemeClr val="tx1">
                    <a:tint val="75000"/>
                  </a:schemeClr>
                </a:solidFill>
              </a:defRPr>
            </a:lvl4pPr>
            <a:lvl5pPr marL="2437872" indent="0" algn="ctr">
              <a:buNone/>
              <a:defRPr>
                <a:solidFill>
                  <a:schemeClr val="tx1">
                    <a:tint val="75000"/>
                  </a:schemeClr>
                </a:solidFill>
              </a:defRPr>
            </a:lvl5pPr>
            <a:lvl6pPr marL="3047340" indent="0" algn="ctr">
              <a:buNone/>
              <a:defRPr>
                <a:solidFill>
                  <a:schemeClr val="tx1">
                    <a:tint val="75000"/>
                  </a:schemeClr>
                </a:solidFill>
              </a:defRPr>
            </a:lvl6pPr>
            <a:lvl7pPr marL="3656808" indent="0" algn="ctr">
              <a:buNone/>
              <a:defRPr>
                <a:solidFill>
                  <a:schemeClr val="tx1">
                    <a:tint val="75000"/>
                  </a:schemeClr>
                </a:solidFill>
              </a:defRPr>
            </a:lvl7pPr>
            <a:lvl8pPr marL="4266275" indent="0" algn="ctr">
              <a:buNone/>
              <a:defRPr>
                <a:solidFill>
                  <a:schemeClr val="tx1">
                    <a:tint val="75000"/>
                  </a:schemeClr>
                </a:solidFill>
              </a:defRPr>
            </a:lvl8pPr>
            <a:lvl9pPr marL="4875744"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9578D6DB-6798-42D2-B9AD-FC6F1C72FC30}"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DE275-BE14-4364-AEA2-5F5667C0FD49}" type="slidenum">
              <a:rPr lang="en-US" smtClean="0"/>
              <a:pPr/>
              <a:t>‹#›</a:t>
            </a:fld>
            <a:endParaRPr lang="en-US"/>
          </a:p>
        </p:txBody>
      </p:sp>
    </p:spTree>
    <p:extLst>
      <p:ext uri="{BB962C8B-B14F-4D97-AF65-F5344CB8AC3E}">
        <p14:creationId xmlns:p14="http://schemas.microsoft.com/office/powerpoint/2010/main" val="5531145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xmlns="" id="{40072922-33C4-4B41-B07E-A2C165941FC0}"/>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7" name="Title 1">
            <a:extLst>
              <a:ext uri="{FF2B5EF4-FFF2-40B4-BE49-F238E27FC236}">
                <a16:creationId xmlns:a16="http://schemas.microsoft.com/office/drawing/2014/main" xmlns="" id="{9C6F62FE-A218-4FF4-BF4B-A352B0436A5A}"/>
              </a:ext>
            </a:extLst>
          </p:cNvPr>
          <p:cNvSpPr>
            <a:spLocks noGrp="1"/>
          </p:cNvSpPr>
          <p:nvPr>
            <p:ph type="title"/>
          </p:nvPr>
        </p:nvSpPr>
        <p:spPr>
          <a:xfrm>
            <a:off x="609600" y="274640"/>
            <a:ext cx="10972801" cy="711081"/>
          </a:xfrm>
        </p:spPr>
        <p:txBody>
          <a:bodyPr lIns="0" rIns="0"/>
          <a:lstStyle>
            <a:lvl1pPr>
              <a:defRPr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Rectangle 7">
            <a:extLst>
              <a:ext uri="{FF2B5EF4-FFF2-40B4-BE49-F238E27FC236}">
                <a16:creationId xmlns:a16="http://schemas.microsoft.com/office/drawing/2014/main" xmlns="" id="{181EF826-198D-4368-A76F-9E1DBEF4FFBE}"/>
              </a:ext>
            </a:extLst>
          </p:cNvPr>
          <p:cNvSpPr/>
          <p:nvPr userDrawn="1"/>
        </p:nvSpPr>
        <p:spPr>
          <a:xfrm>
            <a:off x="11858219" y="267420"/>
            <a:ext cx="333859" cy="7332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Text Placeholder 9">
            <a:extLst>
              <a:ext uri="{FF2B5EF4-FFF2-40B4-BE49-F238E27FC236}">
                <a16:creationId xmlns:a16="http://schemas.microsoft.com/office/drawing/2014/main" xmlns="" id="{77DFC7F0-CE29-402B-AD65-76FC395728EE}"/>
              </a:ext>
            </a:extLst>
          </p:cNvPr>
          <p:cNvSpPr>
            <a:spLocks noGrp="1"/>
          </p:cNvSpPr>
          <p:nvPr>
            <p:ph type="body" sz="quarter" idx="13"/>
          </p:nvPr>
        </p:nvSpPr>
        <p:spPr>
          <a:xfrm>
            <a:off x="609760" y="970942"/>
            <a:ext cx="10972482" cy="412651"/>
          </a:xfrm>
        </p:spPr>
        <p:txBody>
          <a:bodyPr lIns="0" rIns="0">
            <a:normAutofit/>
          </a:bodyPr>
          <a:lstStyle>
            <a:lvl1pPr marL="0" indent="0">
              <a:buFontTx/>
              <a:buNone/>
              <a:defRPr sz="16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Edit Master text styles</a:t>
            </a:r>
            <a:endParaRPr lang="en-IN" dirty="0"/>
          </a:p>
        </p:txBody>
      </p:sp>
    </p:spTree>
    <p:extLst>
      <p:ext uri="{BB962C8B-B14F-4D97-AF65-F5344CB8AC3E}">
        <p14:creationId xmlns:p14="http://schemas.microsoft.com/office/powerpoint/2010/main" val="32467722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CC47C69-22BC-405B-8E87-FECE110BE624}"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1283898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enter Title Slide">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xmlns="" id="{40072922-33C4-4B41-B07E-A2C165941FC0}"/>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9" name="Rectangle 8">
            <a:extLst>
              <a:ext uri="{FF2B5EF4-FFF2-40B4-BE49-F238E27FC236}">
                <a16:creationId xmlns:a16="http://schemas.microsoft.com/office/drawing/2014/main" xmlns="" id="{FB176D7C-AD54-4A86-A2B2-57A15452FE9A}"/>
              </a:ext>
            </a:extLst>
          </p:cNvPr>
          <p:cNvSpPr/>
          <p:nvPr userDrawn="1"/>
        </p:nvSpPr>
        <p:spPr>
          <a:xfrm>
            <a:off x="1" y="3573016"/>
            <a:ext cx="12192000" cy="32849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7" name="Title 1">
            <a:extLst>
              <a:ext uri="{FF2B5EF4-FFF2-40B4-BE49-F238E27FC236}">
                <a16:creationId xmlns:a16="http://schemas.microsoft.com/office/drawing/2014/main" xmlns="" id="{9C6F62FE-A218-4FF4-BF4B-A352B0436A5A}"/>
              </a:ext>
            </a:extLst>
          </p:cNvPr>
          <p:cNvSpPr>
            <a:spLocks noGrp="1"/>
          </p:cNvSpPr>
          <p:nvPr>
            <p:ph type="title"/>
          </p:nvPr>
        </p:nvSpPr>
        <p:spPr>
          <a:xfrm>
            <a:off x="609600" y="735872"/>
            <a:ext cx="10972801" cy="711081"/>
          </a:xfrm>
        </p:spPr>
        <p:txBody>
          <a:bodyPr lIns="0" rIns="0"/>
          <a:lstStyle>
            <a:lvl1pPr algn="ctr">
              <a:defRPr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10" name="Text Placeholder 9">
            <a:extLst>
              <a:ext uri="{FF2B5EF4-FFF2-40B4-BE49-F238E27FC236}">
                <a16:creationId xmlns:a16="http://schemas.microsoft.com/office/drawing/2014/main" xmlns="" id="{77DFC7F0-CE29-402B-AD65-76FC395728EE}"/>
              </a:ext>
            </a:extLst>
          </p:cNvPr>
          <p:cNvSpPr>
            <a:spLocks noGrp="1"/>
          </p:cNvSpPr>
          <p:nvPr>
            <p:ph type="body" sz="quarter" idx="13"/>
          </p:nvPr>
        </p:nvSpPr>
        <p:spPr>
          <a:xfrm>
            <a:off x="609760" y="1432174"/>
            <a:ext cx="10972482" cy="412651"/>
          </a:xfrm>
        </p:spPr>
        <p:txBody>
          <a:bodyPr lIns="0" rIns="0">
            <a:normAutofit/>
          </a:bodyPr>
          <a:lstStyle>
            <a:lvl1pPr marL="0" indent="0" algn="ctr">
              <a:buFontTx/>
              <a:buNone/>
              <a:defRPr sz="16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Edit Master text styles</a:t>
            </a:r>
            <a:endParaRPr lang="en-IN" dirty="0"/>
          </a:p>
        </p:txBody>
      </p:sp>
    </p:spTree>
    <p:extLst>
      <p:ext uri="{BB962C8B-B14F-4D97-AF65-F5344CB8AC3E}">
        <p14:creationId xmlns:p14="http://schemas.microsoft.com/office/powerpoint/2010/main" val="6676986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xmlns="" id="{40072922-33C4-4B41-B07E-A2C165941FC0}"/>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9" name="Rectangle 8">
            <a:extLst>
              <a:ext uri="{FF2B5EF4-FFF2-40B4-BE49-F238E27FC236}">
                <a16:creationId xmlns:a16="http://schemas.microsoft.com/office/drawing/2014/main" xmlns="" id="{06E5C63D-C7C9-4425-B5F5-CDC2151D9BE1}"/>
              </a:ext>
            </a:extLst>
          </p:cNvPr>
          <p:cNvSpPr/>
          <p:nvPr userDrawn="1"/>
        </p:nvSpPr>
        <p:spPr>
          <a:xfrm>
            <a:off x="1" y="3573016"/>
            <a:ext cx="12192000" cy="3284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7" name="Title 1">
            <a:extLst>
              <a:ext uri="{FF2B5EF4-FFF2-40B4-BE49-F238E27FC236}">
                <a16:creationId xmlns:a16="http://schemas.microsoft.com/office/drawing/2014/main" xmlns="" id="{9C6F62FE-A218-4FF4-BF4B-A352B0436A5A}"/>
              </a:ext>
            </a:extLst>
          </p:cNvPr>
          <p:cNvSpPr>
            <a:spLocks noGrp="1"/>
          </p:cNvSpPr>
          <p:nvPr>
            <p:ph type="title"/>
          </p:nvPr>
        </p:nvSpPr>
        <p:spPr>
          <a:xfrm>
            <a:off x="609600" y="274640"/>
            <a:ext cx="10972801" cy="711081"/>
          </a:xfrm>
        </p:spPr>
        <p:txBody>
          <a:bodyPr lIns="0" rIns="0"/>
          <a:lstStyle>
            <a:lvl1pPr>
              <a:defRPr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Rectangle 7">
            <a:extLst>
              <a:ext uri="{FF2B5EF4-FFF2-40B4-BE49-F238E27FC236}">
                <a16:creationId xmlns:a16="http://schemas.microsoft.com/office/drawing/2014/main" xmlns="" id="{181EF826-198D-4368-A76F-9E1DBEF4FFBE}"/>
              </a:ext>
            </a:extLst>
          </p:cNvPr>
          <p:cNvSpPr/>
          <p:nvPr userDrawn="1"/>
        </p:nvSpPr>
        <p:spPr>
          <a:xfrm>
            <a:off x="11858140" y="267420"/>
            <a:ext cx="333859" cy="7332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Text Placeholder 9">
            <a:extLst>
              <a:ext uri="{FF2B5EF4-FFF2-40B4-BE49-F238E27FC236}">
                <a16:creationId xmlns:a16="http://schemas.microsoft.com/office/drawing/2014/main" xmlns="" id="{77DFC7F0-CE29-402B-AD65-76FC395728EE}"/>
              </a:ext>
            </a:extLst>
          </p:cNvPr>
          <p:cNvSpPr>
            <a:spLocks noGrp="1"/>
          </p:cNvSpPr>
          <p:nvPr>
            <p:ph type="body" sz="quarter" idx="13"/>
          </p:nvPr>
        </p:nvSpPr>
        <p:spPr>
          <a:xfrm>
            <a:off x="609760" y="970942"/>
            <a:ext cx="10972482" cy="412651"/>
          </a:xfrm>
        </p:spPr>
        <p:txBody>
          <a:bodyPr lIns="0" rIns="0">
            <a:normAutofit/>
          </a:bodyPr>
          <a:lstStyle>
            <a:lvl1pPr marL="0" indent="0">
              <a:buFontTx/>
              <a:buNone/>
              <a:defRPr sz="16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Edit Master text styles</a:t>
            </a:r>
            <a:endParaRPr lang="en-IN" dirty="0"/>
          </a:p>
        </p:txBody>
      </p:sp>
      <p:sp>
        <p:nvSpPr>
          <p:cNvPr id="3" name="Picture Placeholder 2">
            <a:extLst>
              <a:ext uri="{FF2B5EF4-FFF2-40B4-BE49-F238E27FC236}">
                <a16:creationId xmlns:a16="http://schemas.microsoft.com/office/drawing/2014/main" xmlns="" id="{D51E1A2C-83B3-4044-A99E-E73695BA6D8E}"/>
              </a:ext>
            </a:extLst>
          </p:cNvPr>
          <p:cNvSpPr>
            <a:spLocks noGrp="1"/>
          </p:cNvSpPr>
          <p:nvPr>
            <p:ph type="pic" sz="quarter" idx="14"/>
          </p:nvPr>
        </p:nvSpPr>
        <p:spPr>
          <a:xfrm>
            <a:off x="9082949" y="1700214"/>
            <a:ext cx="2499292" cy="1728787"/>
          </a:xfrm>
          <a:solidFill>
            <a:schemeClr val="bg1">
              <a:lumMod val="95000"/>
            </a:schemeClr>
          </a:solidFill>
        </p:spPr>
        <p:txBody>
          <a:bodyPr>
            <a:normAutofit/>
          </a:bodyPr>
          <a:lstStyle>
            <a:lvl1pPr marL="0" indent="0">
              <a:buFontTx/>
              <a:buNone/>
              <a:defRPr sz="20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20" name="Picture Placeholder 2">
            <a:extLst>
              <a:ext uri="{FF2B5EF4-FFF2-40B4-BE49-F238E27FC236}">
                <a16:creationId xmlns:a16="http://schemas.microsoft.com/office/drawing/2014/main" xmlns="" id="{6B5483CB-2629-4B4B-B1D4-0AC4B7596B65}"/>
              </a:ext>
            </a:extLst>
          </p:cNvPr>
          <p:cNvSpPr>
            <a:spLocks noGrp="1"/>
          </p:cNvSpPr>
          <p:nvPr>
            <p:ph type="pic" sz="quarter" idx="15"/>
          </p:nvPr>
        </p:nvSpPr>
        <p:spPr>
          <a:xfrm>
            <a:off x="6446682" y="1700214"/>
            <a:ext cx="2499292" cy="1728787"/>
          </a:xfrm>
          <a:solidFill>
            <a:schemeClr val="bg1">
              <a:lumMod val="95000"/>
            </a:schemeClr>
          </a:solidFill>
        </p:spPr>
        <p:txBody>
          <a:bodyPr>
            <a:normAutofit/>
          </a:bodyPr>
          <a:lstStyle>
            <a:lvl1pPr marL="0" indent="0">
              <a:buFontTx/>
              <a:buNone/>
              <a:defRPr sz="20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
        <p:nvSpPr>
          <p:cNvPr id="21" name="Picture Placeholder 2">
            <a:extLst>
              <a:ext uri="{FF2B5EF4-FFF2-40B4-BE49-F238E27FC236}">
                <a16:creationId xmlns:a16="http://schemas.microsoft.com/office/drawing/2014/main" xmlns="" id="{F1D0B764-F38F-4B40-9632-5241D6EB0030}"/>
              </a:ext>
            </a:extLst>
          </p:cNvPr>
          <p:cNvSpPr>
            <a:spLocks noGrp="1"/>
          </p:cNvSpPr>
          <p:nvPr>
            <p:ph type="pic" sz="quarter" idx="16"/>
          </p:nvPr>
        </p:nvSpPr>
        <p:spPr>
          <a:xfrm>
            <a:off x="3810415" y="1700214"/>
            <a:ext cx="2499292" cy="1728787"/>
          </a:xfrm>
          <a:solidFill>
            <a:schemeClr val="bg1">
              <a:lumMod val="95000"/>
            </a:schemeClr>
          </a:solidFill>
        </p:spPr>
        <p:txBody>
          <a:bodyPr>
            <a:normAutofit/>
          </a:bodyPr>
          <a:lstStyle>
            <a:lvl1pPr marL="0" indent="0">
              <a:buFontTx/>
              <a:buNone/>
              <a:defRPr sz="20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a:p>
        </p:txBody>
      </p:sp>
    </p:spTree>
    <p:extLst>
      <p:ext uri="{BB962C8B-B14F-4D97-AF65-F5344CB8AC3E}">
        <p14:creationId xmlns:p14="http://schemas.microsoft.com/office/powerpoint/2010/main" val="13771823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eatured Projects">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xmlns="" id="{2D19CCD7-AB85-4AD6-9151-9EE71B428A6C}"/>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7" name="Title 1">
            <a:extLst>
              <a:ext uri="{FF2B5EF4-FFF2-40B4-BE49-F238E27FC236}">
                <a16:creationId xmlns:a16="http://schemas.microsoft.com/office/drawing/2014/main" xmlns="" id="{9C6F62FE-A218-4FF4-BF4B-A352B0436A5A}"/>
              </a:ext>
            </a:extLst>
          </p:cNvPr>
          <p:cNvSpPr>
            <a:spLocks noGrp="1"/>
          </p:cNvSpPr>
          <p:nvPr>
            <p:ph type="title"/>
          </p:nvPr>
        </p:nvSpPr>
        <p:spPr>
          <a:xfrm>
            <a:off x="609600" y="274640"/>
            <a:ext cx="10972801" cy="711081"/>
          </a:xfrm>
        </p:spPr>
        <p:txBody>
          <a:bodyPr lIns="0" rIns="0"/>
          <a:lstStyle>
            <a:lvl1pPr>
              <a:defRPr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Rectangle 7">
            <a:extLst>
              <a:ext uri="{FF2B5EF4-FFF2-40B4-BE49-F238E27FC236}">
                <a16:creationId xmlns:a16="http://schemas.microsoft.com/office/drawing/2014/main" xmlns="" id="{181EF826-198D-4368-A76F-9E1DBEF4FFBE}"/>
              </a:ext>
            </a:extLst>
          </p:cNvPr>
          <p:cNvSpPr/>
          <p:nvPr userDrawn="1"/>
        </p:nvSpPr>
        <p:spPr>
          <a:xfrm>
            <a:off x="11858140" y="267420"/>
            <a:ext cx="333859" cy="7332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Text Placeholder 9">
            <a:extLst>
              <a:ext uri="{FF2B5EF4-FFF2-40B4-BE49-F238E27FC236}">
                <a16:creationId xmlns:a16="http://schemas.microsoft.com/office/drawing/2014/main" xmlns="" id="{77DFC7F0-CE29-402B-AD65-76FC395728EE}"/>
              </a:ext>
            </a:extLst>
          </p:cNvPr>
          <p:cNvSpPr>
            <a:spLocks noGrp="1"/>
          </p:cNvSpPr>
          <p:nvPr>
            <p:ph type="body" sz="quarter" idx="13"/>
          </p:nvPr>
        </p:nvSpPr>
        <p:spPr>
          <a:xfrm>
            <a:off x="609760" y="970942"/>
            <a:ext cx="10972482" cy="412651"/>
          </a:xfrm>
        </p:spPr>
        <p:txBody>
          <a:bodyPr lIns="0" rIns="0">
            <a:normAutofit/>
          </a:bodyPr>
          <a:lstStyle>
            <a:lvl1pPr marL="0" indent="0">
              <a:buFontTx/>
              <a:buNone/>
              <a:defRPr sz="16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Edit Master text styles</a:t>
            </a:r>
            <a:endParaRPr lang="en-IN" dirty="0"/>
          </a:p>
        </p:txBody>
      </p:sp>
      <p:sp>
        <p:nvSpPr>
          <p:cNvPr id="3" name="Picture Placeholder 2">
            <a:extLst>
              <a:ext uri="{FF2B5EF4-FFF2-40B4-BE49-F238E27FC236}">
                <a16:creationId xmlns:a16="http://schemas.microsoft.com/office/drawing/2014/main" xmlns="" id="{3657E366-AA36-4EA9-A94C-3FF4A02D967C}"/>
              </a:ext>
            </a:extLst>
          </p:cNvPr>
          <p:cNvSpPr>
            <a:spLocks noGrp="1"/>
          </p:cNvSpPr>
          <p:nvPr userDrawn="1">
            <p:ph type="pic" sz="quarter" idx="14"/>
          </p:nvPr>
        </p:nvSpPr>
        <p:spPr>
          <a:xfrm>
            <a:off x="598468" y="1701356"/>
            <a:ext cx="2484203" cy="1871660"/>
          </a:xfrm>
        </p:spPr>
        <p:txBody>
          <a:bodyPr>
            <a:normAutofit/>
          </a:bodyPr>
          <a:lstStyle>
            <a:lvl1pPr marL="0" indent="0">
              <a:buFontTx/>
              <a:buNone/>
              <a:defRPr sz="18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27" name="Picture Placeholder 2">
            <a:extLst>
              <a:ext uri="{FF2B5EF4-FFF2-40B4-BE49-F238E27FC236}">
                <a16:creationId xmlns:a16="http://schemas.microsoft.com/office/drawing/2014/main" xmlns="" id="{437DC947-2998-43CA-B59E-37442782D446}"/>
              </a:ext>
            </a:extLst>
          </p:cNvPr>
          <p:cNvSpPr>
            <a:spLocks noGrp="1"/>
          </p:cNvSpPr>
          <p:nvPr userDrawn="1">
            <p:ph type="pic" sz="quarter" idx="15"/>
          </p:nvPr>
        </p:nvSpPr>
        <p:spPr>
          <a:xfrm>
            <a:off x="3429850" y="1701356"/>
            <a:ext cx="2485635" cy="1871660"/>
          </a:xfrm>
        </p:spPr>
        <p:txBody>
          <a:bodyPr>
            <a:normAutofit/>
          </a:bodyPr>
          <a:lstStyle>
            <a:lvl1pPr marL="0" indent="0">
              <a:buFontTx/>
              <a:buNone/>
              <a:defRPr sz="18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34" name="Picture Placeholder 2">
            <a:extLst>
              <a:ext uri="{FF2B5EF4-FFF2-40B4-BE49-F238E27FC236}">
                <a16:creationId xmlns:a16="http://schemas.microsoft.com/office/drawing/2014/main" xmlns="" id="{1900B230-BD75-4B1F-90C4-CE41EBE6D32B}"/>
              </a:ext>
            </a:extLst>
          </p:cNvPr>
          <p:cNvSpPr>
            <a:spLocks noGrp="1"/>
          </p:cNvSpPr>
          <p:nvPr>
            <p:ph type="pic" sz="quarter" idx="16"/>
          </p:nvPr>
        </p:nvSpPr>
        <p:spPr>
          <a:xfrm>
            <a:off x="6241516" y="1701356"/>
            <a:ext cx="2511442" cy="1871660"/>
          </a:xfrm>
        </p:spPr>
        <p:txBody>
          <a:bodyPr>
            <a:normAutofit/>
          </a:bodyPr>
          <a:lstStyle>
            <a:lvl1pPr marL="0" indent="0">
              <a:buFontTx/>
              <a:buNone/>
              <a:defRPr sz="18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35" name="Picture Placeholder 2">
            <a:extLst>
              <a:ext uri="{FF2B5EF4-FFF2-40B4-BE49-F238E27FC236}">
                <a16:creationId xmlns:a16="http://schemas.microsoft.com/office/drawing/2014/main" xmlns="" id="{6EA71213-0238-4B27-92EB-BD1C4F27B116}"/>
              </a:ext>
            </a:extLst>
          </p:cNvPr>
          <p:cNvSpPr>
            <a:spLocks noGrp="1"/>
          </p:cNvSpPr>
          <p:nvPr>
            <p:ph type="pic" sz="quarter" idx="17"/>
          </p:nvPr>
        </p:nvSpPr>
        <p:spPr>
          <a:xfrm>
            <a:off x="9064475" y="1701356"/>
            <a:ext cx="2511442" cy="1871660"/>
          </a:xfrm>
        </p:spPr>
        <p:txBody>
          <a:bodyPr>
            <a:normAutofit/>
          </a:bodyPr>
          <a:lstStyle>
            <a:lvl1pPr marL="0" indent="0">
              <a:buFontTx/>
              <a:buNone/>
              <a:defRPr sz="18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Tree>
    <p:extLst>
      <p:ext uri="{BB962C8B-B14F-4D97-AF65-F5344CB8AC3E}">
        <p14:creationId xmlns:p14="http://schemas.microsoft.com/office/powerpoint/2010/main" val="41563516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xmlns="" id="{C403490C-C0DD-4983-B376-EA874F04B364}"/>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7" name="Title 1">
            <a:extLst>
              <a:ext uri="{FF2B5EF4-FFF2-40B4-BE49-F238E27FC236}">
                <a16:creationId xmlns:a16="http://schemas.microsoft.com/office/drawing/2014/main" xmlns="" id="{9C6F62FE-A218-4FF4-BF4B-A352B0436A5A}"/>
              </a:ext>
            </a:extLst>
          </p:cNvPr>
          <p:cNvSpPr>
            <a:spLocks noGrp="1"/>
          </p:cNvSpPr>
          <p:nvPr>
            <p:ph type="title"/>
          </p:nvPr>
        </p:nvSpPr>
        <p:spPr>
          <a:xfrm>
            <a:off x="609600" y="274640"/>
            <a:ext cx="10972801" cy="711081"/>
          </a:xfrm>
        </p:spPr>
        <p:txBody>
          <a:bodyPr lIns="0" rIns="0"/>
          <a:lstStyle>
            <a:lvl1pPr>
              <a:defRPr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8" name="Rectangle 7">
            <a:extLst>
              <a:ext uri="{FF2B5EF4-FFF2-40B4-BE49-F238E27FC236}">
                <a16:creationId xmlns:a16="http://schemas.microsoft.com/office/drawing/2014/main" xmlns="" id="{181EF826-198D-4368-A76F-9E1DBEF4FFBE}"/>
              </a:ext>
            </a:extLst>
          </p:cNvPr>
          <p:cNvSpPr/>
          <p:nvPr userDrawn="1"/>
        </p:nvSpPr>
        <p:spPr>
          <a:xfrm>
            <a:off x="11858219" y="267420"/>
            <a:ext cx="333859" cy="7332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Text Placeholder 9">
            <a:extLst>
              <a:ext uri="{FF2B5EF4-FFF2-40B4-BE49-F238E27FC236}">
                <a16:creationId xmlns:a16="http://schemas.microsoft.com/office/drawing/2014/main" xmlns="" id="{77DFC7F0-CE29-402B-AD65-76FC395728EE}"/>
              </a:ext>
            </a:extLst>
          </p:cNvPr>
          <p:cNvSpPr>
            <a:spLocks noGrp="1"/>
          </p:cNvSpPr>
          <p:nvPr>
            <p:ph type="body" sz="quarter" idx="13"/>
          </p:nvPr>
        </p:nvSpPr>
        <p:spPr>
          <a:xfrm>
            <a:off x="609760" y="970942"/>
            <a:ext cx="10972482" cy="412651"/>
          </a:xfrm>
        </p:spPr>
        <p:txBody>
          <a:bodyPr lIns="0" rIns="0">
            <a:normAutofit/>
          </a:bodyPr>
          <a:lstStyle>
            <a:lvl1pPr marL="0" indent="0">
              <a:buFontTx/>
              <a:buNone/>
              <a:defRPr sz="16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dirty="0"/>
              <a:t>Edit Master text styles</a:t>
            </a:r>
            <a:endParaRPr lang="en-IN" dirty="0"/>
          </a:p>
        </p:txBody>
      </p:sp>
      <p:sp>
        <p:nvSpPr>
          <p:cNvPr id="2" name="Oval 1">
            <a:extLst>
              <a:ext uri="{FF2B5EF4-FFF2-40B4-BE49-F238E27FC236}">
                <a16:creationId xmlns:a16="http://schemas.microsoft.com/office/drawing/2014/main" xmlns="" id="{D2FBF3A1-F236-4469-979F-4258324891A0}"/>
              </a:ext>
            </a:extLst>
          </p:cNvPr>
          <p:cNvSpPr/>
          <p:nvPr userDrawn="1"/>
        </p:nvSpPr>
        <p:spPr>
          <a:xfrm>
            <a:off x="5181260" y="1988840"/>
            <a:ext cx="1829478" cy="1829002"/>
          </a:xfrm>
          <a:prstGeom prst="ellipse">
            <a:avLst/>
          </a:prstGeom>
          <a:solidFill>
            <a:schemeClr val="accent1"/>
          </a:solidFill>
          <a:ln w="571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9" name="Oval 18">
            <a:extLst>
              <a:ext uri="{FF2B5EF4-FFF2-40B4-BE49-F238E27FC236}">
                <a16:creationId xmlns:a16="http://schemas.microsoft.com/office/drawing/2014/main" xmlns="" id="{5CF5E000-422C-46F8-A195-B56047F387FB}"/>
              </a:ext>
            </a:extLst>
          </p:cNvPr>
          <p:cNvSpPr/>
          <p:nvPr userDrawn="1"/>
        </p:nvSpPr>
        <p:spPr>
          <a:xfrm>
            <a:off x="5181260" y="3991643"/>
            <a:ext cx="1829478" cy="1829002"/>
          </a:xfrm>
          <a:prstGeom prst="ellipse">
            <a:avLst/>
          </a:prstGeom>
          <a:solidFill>
            <a:schemeClr val="accent1"/>
          </a:solidFill>
          <a:ln w="571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20" name="Picture Placeholder 19">
            <a:extLst>
              <a:ext uri="{FF2B5EF4-FFF2-40B4-BE49-F238E27FC236}">
                <a16:creationId xmlns:a16="http://schemas.microsoft.com/office/drawing/2014/main" xmlns="" id="{8B4ED220-3D5A-42B3-A950-15ECEBA58E86}"/>
              </a:ext>
            </a:extLst>
          </p:cNvPr>
          <p:cNvSpPr>
            <a:spLocks noGrp="1"/>
          </p:cNvSpPr>
          <p:nvPr>
            <p:ph type="pic" sz="quarter" idx="14"/>
          </p:nvPr>
        </p:nvSpPr>
        <p:spPr>
          <a:xfrm>
            <a:off x="4252596" y="2290996"/>
            <a:ext cx="1224282" cy="1225550"/>
          </a:xfrm>
          <a:prstGeom prst="ellipse">
            <a:avLst/>
          </a:prstGeom>
          <a:solidFill>
            <a:schemeClr val="bg1">
              <a:lumMod val="85000"/>
            </a:schemeClr>
          </a:solidFill>
        </p:spPr>
        <p:txBody>
          <a:bodyPr anchor="ctr">
            <a:normAutofit/>
          </a:bodyPr>
          <a:lstStyle>
            <a:lvl1pPr marL="0" indent="0" algn="ctr">
              <a:buFontTx/>
              <a:buNone/>
              <a:defRPr sz="1400">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22" name="Picture Placeholder 19">
            <a:extLst>
              <a:ext uri="{FF2B5EF4-FFF2-40B4-BE49-F238E27FC236}">
                <a16:creationId xmlns:a16="http://schemas.microsoft.com/office/drawing/2014/main" xmlns="" id="{9FEA6652-3D1F-43EE-B32C-FB752362A0DE}"/>
              </a:ext>
            </a:extLst>
          </p:cNvPr>
          <p:cNvSpPr>
            <a:spLocks noGrp="1"/>
          </p:cNvSpPr>
          <p:nvPr>
            <p:ph type="pic" sz="quarter" idx="15"/>
          </p:nvPr>
        </p:nvSpPr>
        <p:spPr>
          <a:xfrm>
            <a:off x="6694591" y="2290996"/>
            <a:ext cx="1224282" cy="1225550"/>
          </a:xfrm>
          <a:prstGeom prst="ellipse">
            <a:avLst/>
          </a:prstGeom>
          <a:solidFill>
            <a:schemeClr val="bg1">
              <a:lumMod val="85000"/>
            </a:schemeClr>
          </a:solidFill>
        </p:spPr>
        <p:txBody>
          <a:bodyPr anchor="ctr">
            <a:normAutofit/>
          </a:bodyPr>
          <a:lstStyle>
            <a:lvl1pPr marL="0" indent="0" algn="ctr">
              <a:buFontTx/>
              <a:buNone/>
              <a:defRPr sz="1400">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23" name="Picture Placeholder 19">
            <a:extLst>
              <a:ext uri="{FF2B5EF4-FFF2-40B4-BE49-F238E27FC236}">
                <a16:creationId xmlns:a16="http://schemas.microsoft.com/office/drawing/2014/main" xmlns="" id="{4C7D7BA5-A821-45C6-A829-C61F00A8CC1D}"/>
              </a:ext>
            </a:extLst>
          </p:cNvPr>
          <p:cNvSpPr>
            <a:spLocks noGrp="1"/>
          </p:cNvSpPr>
          <p:nvPr>
            <p:ph type="pic" sz="quarter" idx="16"/>
          </p:nvPr>
        </p:nvSpPr>
        <p:spPr>
          <a:xfrm>
            <a:off x="4252596" y="4306228"/>
            <a:ext cx="1224282" cy="1225550"/>
          </a:xfrm>
          <a:prstGeom prst="ellipse">
            <a:avLst/>
          </a:prstGeom>
          <a:solidFill>
            <a:schemeClr val="bg1">
              <a:lumMod val="85000"/>
            </a:schemeClr>
          </a:solidFill>
        </p:spPr>
        <p:txBody>
          <a:bodyPr anchor="ctr">
            <a:normAutofit/>
          </a:bodyPr>
          <a:lstStyle>
            <a:lvl1pPr marL="0" indent="0" algn="ctr">
              <a:buFontTx/>
              <a:buNone/>
              <a:defRPr sz="1400">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24" name="Picture Placeholder 19">
            <a:extLst>
              <a:ext uri="{FF2B5EF4-FFF2-40B4-BE49-F238E27FC236}">
                <a16:creationId xmlns:a16="http://schemas.microsoft.com/office/drawing/2014/main" xmlns="" id="{B4FF7CDE-8CFB-4605-8C59-25CCE0EA6D8D}"/>
              </a:ext>
            </a:extLst>
          </p:cNvPr>
          <p:cNvSpPr>
            <a:spLocks noGrp="1"/>
          </p:cNvSpPr>
          <p:nvPr>
            <p:ph type="pic" sz="quarter" idx="17"/>
          </p:nvPr>
        </p:nvSpPr>
        <p:spPr>
          <a:xfrm>
            <a:off x="6694591" y="4306228"/>
            <a:ext cx="1224282" cy="1225550"/>
          </a:xfrm>
          <a:prstGeom prst="ellipse">
            <a:avLst/>
          </a:prstGeom>
          <a:solidFill>
            <a:schemeClr val="bg1">
              <a:lumMod val="85000"/>
            </a:schemeClr>
          </a:solidFill>
        </p:spPr>
        <p:txBody>
          <a:bodyPr anchor="ctr">
            <a:normAutofit/>
          </a:bodyPr>
          <a:lstStyle>
            <a:lvl1pPr marL="0" indent="0" algn="ctr">
              <a:buFontTx/>
              <a:buNone/>
              <a:defRPr sz="1400">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Tree>
    <p:extLst>
      <p:ext uri="{BB962C8B-B14F-4D97-AF65-F5344CB8AC3E}">
        <p14:creationId xmlns:p14="http://schemas.microsoft.com/office/powerpoint/2010/main" val="41463423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allery">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xmlns="" id="{62448AEA-8FD6-461E-AC3D-1FD529D4B582}"/>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13" name="Text Placeholder 12">
            <a:extLst>
              <a:ext uri="{FF2B5EF4-FFF2-40B4-BE49-F238E27FC236}">
                <a16:creationId xmlns:a16="http://schemas.microsoft.com/office/drawing/2014/main" xmlns="" id="{D0AD1238-EC5A-403E-B5C2-D1E0B7D52754}"/>
              </a:ext>
            </a:extLst>
          </p:cNvPr>
          <p:cNvSpPr>
            <a:spLocks noGrp="1"/>
          </p:cNvSpPr>
          <p:nvPr userDrawn="1">
            <p:ph type="body" sz="quarter" idx="13"/>
          </p:nvPr>
        </p:nvSpPr>
        <p:spPr>
          <a:xfrm>
            <a:off x="5087675" y="551082"/>
            <a:ext cx="6500918" cy="605452"/>
          </a:xfrm>
        </p:spPr>
        <p:txBody>
          <a:bodyPr lIns="0" tIns="0" rIns="0" bIns="0">
            <a:noAutofit/>
          </a:bodyPr>
          <a:lstStyle>
            <a:lvl1pPr marL="0" indent="0">
              <a:buFontTx/>
              <a:buNone/>
              <a:defRPr sz="36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
        <p:nvSpPr>
          <p:cNvPr id="33" name="Text Placeholder 12">
            <a:extLst>
              <a:ext uri="{FF2B5EF4-FFF2-40B4-BE49-F238E27FC236}">
                <a16:creationId xmlns:a16="http://schemas.microsoft.com/office/drawing/2014/main" xmlns="" id="{2CA630E1-973F-4371-95DA-3F964B9B52B4}"/>
              </a:ext>
            </a:extLst>
          </p:cNvPr>
          <p:cNvSpPr>
            <a:spLocks noGrp="1"/>
          </p:cNvSpPr>
          <p:nvPr userDrawn="1">
            <p:ph type="body" sz="quarter" idx="14"/>
          </p:nvPr>
        </p:nvSpPr>
        <p:spPr>
          <a:xfrm>
            <a:off x="5087675" y="1100700"/>
            <a:ext cx="6500918" cy="515421"/>
          </a:xfrm>
        </p:spPr>
        <p:txBody>
          <a:bodyPr lIns="0" rIns="0">
            <a:noAutofit/>
          </a:bodyPr>
          <a:lstStyle>
            <a:lvl1pPr marL="0" indent="0">
              <a:buFontTx/>
              <a:buNone/>
              <a:defRPr sz="2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
        <p:nvSpPr>
          <p:cNvPr id="37" name="Picture Placeholder 36">
            <a:extLst>
              <a:ext uri="{FF2B5EF4-FFF2-40B4-BE49-F238E27FC236}">
                <a16:creationId xmlns:a16="http://schemas.microsoft.com/office/drawing/2014/main" xmlns="" id="{9F20B0CB-EAF3-49FB-A486-CE4A0226D750}"/>
              </a:ext>
            </a:extLst>
          </p:cNvPr>
          <p:cNvSpPr>
            <a:spLocks noGrp="1"/>
          </p:cNvSpPr>
          <p:nvPr>
            <p:ph type="pic" sz="quarter" idx="15"/>
          </p:nvPr>
        </p:nvSpPr>
        <p:spPr>
          <a:xfrm>
            <a:off x="5087625" y="3573016"/>
            <a:ext cx="2135339" cy="1872206"/>
          </a:xfrm>
          <a:custGeom>
            <a:avLst/>
            <a:gdLst>
              <a:gd name="connsiteX0" fmla="*/ 0 w 2134783"/>
              <a:gd name="connsiteY0" fmla="*/ 0 h 1872206"/>
              <a:gd name="connsiteX1" fmla="*/ 2134783 w 2134783"/>
              <a:gd name="connsiteY1" fmla="*/ 0 h 1872206"/>
              <a:gd name="connsiteX2" fmla="*/ 2134783 w 2134783"/>
              <a:gd name="connsiteY2" fmla="*/ 1872206 h 1872206"/>
              <a:gd name="connsiteX3" fmla="*/ 0 w 2134783"/>
              <a:gd name="connsiteY3" fmla="*/ 1872206 h 1872206"/>
            </a:gdLst>
            <a:ahLst/>
            <a:cxnLst>
              <a:cxn ang="0">
                <a:pos x="connsiteX0" y="connsiteY0"/>
              </a:cxn>
              <a:cxn ang="0">
                <a:pos x="connsiteX1" y="connsiteY1"/>
              </a:cxn>
              <a:cxn ang="0">
                <a:pos x="connsiteX2" y="connsiteY2"/>
              </a:cxn>
              <a:cxn ang="0">
                <a:pos x="connsiteX3" y="connsiteY3"/>
              </a:cxn>
            </a:cxnLst>
            <a:rect l="l" t="t" r="r" b="b"/>
            <a:pathLst>
              <a:path w="2134783" h="1872206">
                <a:moveTo>
                  <a:pt x="0" y="0"/>
                </a:moveTo>
                <a:lnTo>
                  <a:pt x="2134783" y="0"/>
                </a:lnTo>
                <a:lnTo>
                  <a:pt x="2134783" y="1872206"/>
                </a:lnTo>
                <a:lnTo>
                  <a:pt x="0" y="1872206"/>
                </a:lnTo>
                <a:close/>
              </a:path>
            </a:pathLst>
          </a:custGeom>
        </p:spPr>
        <p:txBody>
          <a:bodyPr wrap="square">
            <a:noAutofit/>
          </a:bodyPr>
          <a:lstStyle>
            <a:lvl1pPr marL="0" indent="0">
              <a:buFontTx/>
              <a:buNone/>
              <a:defRPr sz="2000">
                <a:solidFill>
                  <a:schemeClr val="bg1"/>
                </a:solidFill>
              </a:defRPr>
            </a:lvl1pPr>
          </a:lstStyle>
          <a:p>
            <a:endParaRPr lang="en-IN"/>
          </a:p>
        </p:txBody>
      </p:sp>
      <p:sp>
        <p:nvSpPr>
          <p:cNvPr id="38" name="Picture Placeholder 37">
            <a:extLst>
              <a:ext uri="{FF2B5EF4-FFF2-40B4-BE49-F238E27FC236}">
                <a16:creationId xmlns:a16="http://schemas.microsoft.com/office/drawing/2014/main" xmlns="" id="{66DBDB99-159D-4BCC-922C-8731F776C711}"/>
              </a:ext>
            </a:extLst>
          </p:cNvPr>
          <p:cNvSpPr>
            <a:spLocks noGrp="1"/>
          </p:cNvSpPr>
          <p:nvPr>
            <p:ph type="pic" sz="quarter" idx="16"/>
          </p:nvPr>
        </p:nvSpPr>
        <p:spPr>
          <a:xfrm>
            <a:off x="7270660" y="3573016"/>
            <a:ext cx="2135339" cy="1872206"/>
          </a:xfrm>
          <a:custGeom>
            <a:avLst/>
            <a:gdLst>
              <a:gd name="connsiteX0" fmla="*/ 0 w 2134783"/>
              <a:gd name="connsiteY0" fmla="*/ 0 h 1872206"/>
              <a:gd name="connsiteX1" fmla="*/ 2134783 w 2134783"/>
              <a:gd name="connsiteY1" fmla="*/ 0 h 1872206"/>
              <a:gd name="connsiteX2" fmla="*/ 2134783 w 2134783"/>
              <a:gd name="connsiteY2" fmla="*/ 1872206 h 1872206"/>
              <a:gd name="connsiteX3" fmla="*/ 0 w 2134783"/>
              <a:gd name="connsiteY3" fmla="*/ 1872206 h 1872206"/>
            </a:gdLst>
            <a:ahLst/>
            <a:cxnLst>
              <a:cxn ang="0">
                <a:pos x="connsiteX0" y="connsiteY0"/>
              </a:cxn>
              <a:cxn ang="0">
                <a:pos x="connsiteX1" y="connsiteY1"/>
              </a:cxn>
              <a:cxn ang="0">
                <a:pos x="connsiteX2" y="connsiteY2"/>
              </a:cxn>
              <a:cxn ang="0">
                <a:pos x="connsiteX3" y="connsiteY3"/>
              </a:cxn>
            </a:cxnLst>
            <a:rect l="l" t="t" r="r" b="b"/>
            <a:pathLst>
              <a:path w="2134783" h="1872206">
                <a:moveTo>
                  <a:pt x="0" y="0"/>
                </a:moveTo>
                <a:lnTo>
                  <a:pt x="2134783" y="0"/>
                </a:lnTo>
                <a:lnTo>
                  <a:pt x="2134783" y="1872206"/>
                </a:lnTo>
                <a:lnTo>
                  <a:pt x="0" y="1872206"/>
                </a:lnTo>
                <a:close/>
              </a:path>
            </a:pathLst>
          </a:custGeom>
        </p:spPr>
        <p:txBody>
          <a:bodyPr wrap="square">
            <a:noAutofit/>
          </a:bodyPr>
          <a:lstStyle>
            <a:lvl1pPr marL="0" indent="0">
              <a:buFontTx/>
              <a:buNone/>
              <a:defRPr sz="2000">
                <a:solidFill>
                  <a:schemeClr val="bg1"/>
                </a:solidFill>
              </a:defRPr>
            </a:lvl1pPr>
          </a:lstStyle>
          <a:p>
            <a:endParaRPr lang="en-IN" dirty="0"/>
          </a:p>
        </p:txBody>
      </p:sp>
      <p:sp>
        <p:nvSpPr>
          <p:cNvPr id="39" name="Picture Placeholder 38">
            <a:extLst>
              <a:ext uri="{FF2B5EF4-FFF2-40B4-BE49-F238E27FC236}">
                <a16:creationId xmlns:a16="http://schemas.microsoft.com/office/drawing/2014/main" xmlns="" id="{1CFA485B-3C79-4711-AEFD-6EA48A1BA976}"/>
              </a:ext>
            </a:extLst>
          </p:cNvPr>
          <p:cNvSpPr>
            <a:spLocks noGrp="1"/>
          </p:cNvSpPr>
          <p:nvPr>
            <p:ph type="pic" sz="quarter" idx="17"/>
          </p:nvPr>
        </p:nvSpPr>
        <p:spPr>
          <a:xfrm>
            <a:off x="9453694" y="3573016"/>
            <a:ext cx="2135339" cy="1872206"/>
          </a:xfrm>
          <a:custGeom>
            <a:avLst/>
            <a:gdLst>
              <a:gd name="connsiteX0" fmla="*/ 0 w 2134783"/>
              <a:gd name="connsiteY0" fmla="*/ 0 h 1872206"/>
              <a:gd name="connsiteX1" fmla="*/ 2134783 w 2134783"/>
              <a:gd name="connsiteY1" fmla="*/ 0 h 1872206"/>
              <a:gd name="connsiteX2" fmla="*/ 2134783 w 2134783"/>
              <a:gd name="connsiteY2" fmla="*/ 1872206 h 1872206"/>
              <a:gd name="connsiteX3" fmla="*/ 0 w 2134783"/>
              <a:gd name="connsiteY3" fmla="*/ 1872206 h 1872206"/>
            </a:gdLst>
            <a:ahLst/>
            <a:cxnLst>
              <a:cxn ang="0">
                <a:pos x="connsiteX0" y="connsiteY0"/>
              </a:cxn>
              <a:cxn ang="0">
                <a:pos x="connsiteX1" y="connsiteY1"/>
              </a:cxn>
              <a:cxn ang="0">
                <a:pos x="connsiteX2" y="connsiteY2"/>
              </a:cxn>
              <a:cxn ang="0">
                <a:pos x="connsiteX3" y="connsiteY3"/>
              </a:cxn>
            </a:cxnLst>
            <a:rect l="l" t="t" r="r" b="b"/>
            <a:pathLst>
              <a:path w="2134783" h="1872206">
                <a:moveTo>
                  <a:pt x="0" y="0"/>
                </a:moveTo>
                <a:lnTo>
                  <a:pt x="2134783" y="0"/>
                </a:lnTo>
                <a:lnTo>
                  <a:pt x="2134783" y="1872206"/>
                </a:lnTo>
                <a:lnTo>
                  <a:pt x="0" y="1872206"/>
                </a:lnTo>
                <a:close/>
              </a:path>
            </a:pathLst>
          </a:custGeom>
        </p:spPr>
        <p:txBody>
          <a:bodyPr wrap="square">
            <a:noAutofit/>
          </a:bodyPr>
          <a:lstStyle>
            <a:lvl1pPr marL="0" indent="0">
              <a:buFontTx/>
              <a:buNone/>
              <a:defRPr sz="2000">
                <a:solidFill>
                  <a:schemeClr val="bg1"/>
                </a:solidFill>
              </a:defRPr>
            </a:lvl1pPr>
          </a:lstStyle>
          <a:p>
            <a:endParaRPr lang="en-IN" dirty="0"/>
          </a:p>
        </p:txBody>
      </p:sp>
    </p:spTree>
    <p:extLst>
      <p:ext uri="{BB962C8B-B14F-4D97-AF65-F5344CB8AC3E}">
        <p14:creationId xmlns:p14="http://schemas.microsoft.com/office/powerpoint/2010/main" val="7819188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Gallery">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xmlns="" id="{C23F811D-E035-477F-BC73-6FB5409854F4}"/>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10" name="Text Placeholder 12">
            <a:extLst>
              <a:ext uri="{FF2B5EF4-FFF2-40B4-BE49-F238E27FC236}">
                <a16:creationId xmlns:a16="http://schemas.microsoft.com/office/drawing/2014/main" xmlns="" id="{C60448AE-CEA2-438A-AA77-6DBCFE448D94}"/>
              </a:ext>
            </a:extLst>
          </p:cNvPr>
          <p:cNvSpPr>
            <a:spLocks noGrp="1"/>
          </p:cNvSpPr>
          <p:nvPr>
            <p:ph type="body" sz="quarter" idx="13"/>
          </p:nvPr>
        </p:nvSpPr>
        <p:spPr>
          <a:xfrm>
            <a:off x="5087675" y="551082"/>
            <a:ext cx="6500918" cy="605452"/>
          </a:xfrm>
        </p:spPr>
        <p:txBody>
          <a:bodyPr lIns="0" tIns="0" rIns="0" bIns="0">
            <a:noAutofit/>
          </a:bodyPr>
          <a:lstStyle>
            <a:lvl1pPr marL="0" indent="0">
              <a:buFontTx/>
              <a:buNone/>
              <a:defRPr sz="36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
        <p:nvSpPr>
          <p:cNvPr id="11" name="Text Placeholder 12">
            <a:extLst>
              <a:ext uri="{FF2B5EF4-FFF2-40B4-BE49-F238E27FC236}">
                <a16:creationId xmlns:a16="http://schemas.microsoft.com/office/drawing/2014/main" xmlns="" id="{63FC0189-1D9B-40D1-90B6-3B3507B1254C}"/>
              </a:ext>
            </a:extLst>
          </p:cNvPr>
          <p:cNvSpPr>
            <a:spLocks noGrp="1"/>
          </p:cNvSpPr>
          <p:nvPr>
            <p:ph type="body" sz="quarter" idx="14"/>
          </p:nvPr>
        </p:nvSpPr>
        <p:spPr>
          <a:xfrm>
            <a:off x="5087675" y="1100700"/>
            <a:ext cx="6500918" cy="515421"/>
          </a:xfrm>
        </p:spPr>
        <p:txBody>
          <a:bodyPr lIns="0" rIns="0">
            <a:noAutofit/>
          </a:bodyPr>
          <a:lstStyle>
            <a:lvl1pPr marL="0" indent="0">
              <a:buFontTx/>
              <a:buNone/>
              <a:defRPr sz="2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Tree>
    <p:extLst>
      <p:ext uri="{BB962C8B-B14F-4D97-AF65-F5344CB8AC3E}">
        <p14:creationId xmlns:p14="http://schemas.microsoft.com/office/powerpoint/2010/main" val="5970485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rvice">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xmlns="" id="{2F900862-F812-4E34-9022-2FC6494B674A}"/>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
        <p:nvSpPr>
          <p:cNvPr id="3" name="Picture Placeholder 2">
            <a:extLst>
              <a:ext uri="{FF2B5EF4-FFF2-40B4-BE49-F238E27FC236}">
                <a16:creationId xmlns:a16="http://schemas.microsoft.com/office/drawing/2014/main" xmlns="" id="{21115A7A-40DD-4601-B537-0614FDC2C2AB}"/>
              </a:ext>
            </a:extLst>
          </p:cNvPr>
          <p:cNvSpPr>
            <a:spLocks noGrp="1"/>
          </p:cNvSpPr>
          <p:nvPr>
            <p:ph type="pic" sz="quarter" idx="15"/>
          </p:nvPr>
        </p:nvSpPr>
        <p:spPr>
          <a:xfrm>
            <a:off x="5072942" y="1926396"/>
            <a:ext cx="6502131" cy="3302805"/>
          </a:xfrm>
        </p:spPr>
        <p:txBody>
          <a:bodyPr>
            <a:normAutofit/>
          </a:bodyPr>
          <a:lstStyle>
            <a:lvl1pPr marL="0" indent="0">
              <a:buFontTx/>
              <a:buNone/>
              <a:defRPr sz="2000">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
        <p:nvSpPr>
          <p:cNvPr id="16" name="Text Placeholder 12">
            <a:extLst>
              <a:ext uri="{FF2B5EF4-FFF2-40B4-BE49-F238E27FC236}">
                <a16:creationId xmlns:a16="http://schemas.microsoft.com/office/drawing/2014/main" xmlns="" id="{77983BE5-1983-4A7D-9A98-032E4E83170B}"/>
              </a:ext>
            </a:extLst>
          </p:cNvPr>
          <p:cNvSpPr>
            <a:spLocks noGrp="1"/>
          </p:cNvSpPr>
          <p:nvPr>
            <p:ph type="body" sz="quarter" idx="13"/>
          </p:nvPr>
        </p:nvSpPr>
        <p:spPr>
          <a:xfrm>
            <a:off x="5087675" y="551082"/>
            <a:ext cx="6500918" cy="605452"/>
          </a:xfrm>
        </p:spPr>
        <p:txBody>
          <a:bodyPr lIns="0" tIns="0" rIns="0" bIns="0">
            <a:noAutofit/>
          </a:bodyPr>
          <a:lstStyle>
            <a:lvl1pPr marL="0" indent="0">
              <a:buFontTx/>
              <a:buNone/>
              <a:defRPr sz="36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
        <p:nvSpPr>
          <p:cNvPr id="17" name="Text Placeholder 12">
            <a:extLst>
              <a:ext uri="{FF2B5EF4-FFF2-40B4-BE49-F238E27FC236}">
                <a16:creationId xmlns:a16="http://schemas.microsoft.com/office/drawing/2014/main" xmlns="" id="{56D521F2-1007-44BB-B6CD-841ECCC0E978}"/>
              </a:ext>
            </a:extLst>
          </p:cNvPr>
          <p:cNvSpPr>
            <a:spLocks noGrp="1"/>
          </p:cNvSpPr>
          <p:nvPr>
            <p:ph type="body" sz="quarter" idx="14"/>
          </p:nvPr>
        </p:nvSpPr>
        <p:spPr>
          <a:xfrm>
            <a:off x="5087675" y="1100700"/>
            <a:ext cx="6500918" cy="515421"/>
          </a:xfrm>
        </p:spPr>
        <p:txBody>
          <a:bodyPr lIns="0" rIns="0">
            <a:noAutofit/>
          </a:bodyPr>
          <a:lstStyle>
            <a:lvl1pPr marL="0" indent="0">
              <a:buFontTx/>
              <a:buNone/>
              <a:defRPr sz="200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Edit Master text styles</a:t>
            </a:r>
            <a:endParaRPr lang="en-IN" dirty="0"/>
          </a:p>
        </p:txBody>
      </p:sp>
    </p:spTree>
    <p:extLst>
      <p:ext uri="{BB962C8B-B14F-4D97-AF65-F5344CB8AC3E}">
        <p14:creationId xmlns:p14="http://schemas.microsoft.com/office/powerpoint/2010/main" val="41424721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right-imag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xmlns="" id="{907738A3-970C-4068-BDC3-66BFA764C3EA}"/>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 name="Date Placeholder 1"/>
          <p:cNvSpPr>
            <a:spLocks noGrp="1"/>
          </p:cNvSpPr>
          <p:nvPr>
            <p:ph type="dt" sz="half" idx="10"/>
          </p:nvPr>
        </p:nvSpPr>
        <p:spPr/>
        <p:txBody>
          <a:bodyPr/>
          <a:lstStyle/>
          <a:p>
            <a:fld id="{425404F2-BE9A-4460-8815-8F645183555F}" type="datetimeFigureOut">
              <a:rPr lang="en-US" smtClean="0"/>
              <a:pPr/>
              <a:t>9/2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
        <p:nvSpPr>
          <p:cNvPr id="16" name="Picture Placeholder 15">
            <a:extLst>
              <a:ext uri="{FF2B5EF4-FFF2-40B4-BE49-F238E27FC236}">
                <a16:creationId xmlns:a16="http://schemas.microsoft.com/office/drawing/2014/main" xmlns="" id="{704CD50C-6BC6-42E1-AC65-BA6F7D53B8DA}"/>
              </a:ext>
            </a:extLst>
          </p:cNvPr>
          <p:cNvSpPr>
            <a:spLocks noGrp="1"/>
          </p:cNvSpPr>
          <p:nvPr>
            <p:ph type="pic" sz="quarter" idx="13"/>
          </p:nvPr>
        </p:nvSpPr>
        <p:spPr>
          <a:xfrm>
            <a:off x="617699" y="638630"/>
            <a:ext cx="4984460" cy="2286315"/>
          </a:xfrm>
          <a:solidFill>
            <a:schemeClr val="bg1">
              <a:lumMod val="95000"/>
            </a:schemeClr>
          </a:solidFill>
        </p:spPr>
        <p:txBody>
          <a:bodyPr>
            <a:normAutofit/>
          </a:bodyPr>
          <a:lstStyle>
            <a:lvl1pPr marL="0" indent="0">
              <a:buFontTx/>
              <a:buNone/>
              <a:defRPr sz="2400">
                <a:latin typeface="Open Sans" panose="020B0606030504020204" pitchFamily="34" charset="0"/>
                <a:ea typeface="Open Sans" panose="020B0606030504020204" pitchFamily="34" charset="0"/>
                <a:cs typeface="Open Sans" panose="020B0606030504020204" pitchFamily="34" charset="0"/>
              </a:defRPr>
            </a:lvl1pPr>
          </a:lstStyle>
          <a:p>
            <a:endParaRPr lang="en-IN" dirty="0"/>
          </a:p>
        </p:txBody>
      </p:sp>
    </p:spTree>
    <p:extLst>
      <p:ext uri="{BB962C8B-B14F-4D97-AF65-F5344CB8AC3E}">
        <p14:creationId xmlns:p14="http://schemas.microsoft.com/office/powerpoint/2010/main" val="11761203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le">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xmlns="" id="{CA464045-3D7F-412D-BDAC-2BAC67DAF352}"/>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 name="Date Placeholder 1"/>
          <p:cNvSpPr>
            <a:spLocks noGrp="1"/>
          </p:cNvSpPr>
          <p:nvPr>
            <p:ph type="dt" sz="half" idx="10"/>
          </p:nvPr>
        </p:nvSpPr>
        <p:spPr/>
        <p:txBody>
          <a:bodyPr/>
          <a:lstStyle/>
          <a:p>
            <a:fld id="{425404F2-BE9A-4460-8815-8F645183555F}" type="datetimeFigureOut">
              <a:rPr lang="en-US" smtClean="0"/>
              <a:pPr/>
              <a:t>9/2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
        <p:nvSpPr>
          <p:cNvPr id="33" name="Picture Placeholder 32">
            <a:extLst>
              <a:ext uri="{FF2B5EF4-FFF2-40B4-BE49-F238E27FC236}">
                <a16:creationId xmlns:a16="http://schemas.microsoft.com/office/drawing/2014/main" xmlns="" id="{045FC956-0407-4BD5-80E9-3ACF26CCDB25}"/>
              </a:ext>
            </a:extLst>
          </p:cNvPr>
          <p:cNvSpPr>
            <a:spLocks noGrp="1"/>
          </p:cNvSpPr>
          <p:nvPr>
            <p:ph type="pic" sz="quarter" idx="13"/>
          </p:nvPr>
        </p:nvSpPr>
        <p:spPr>
          <a:xfrm>
            <a:off x="996359" y="992224"/>
            <a:ext cx="2976195" cy="2562667"/>
          </a:xfrm>
          <a:custGeom>
            <a:avLst/>
            <a:gdLst>
              <a:gd name="connsiteX0" fmla="*/ 0 w 2975420"/>
              <a:gd name="connsiteY0" fmla="*/ 0 h 2562667"/>
              <a:gd name="connsiteX1" fmla="*/ 2975420 w 2975420"/>
              <a:gd name="connsiteY1" fmla="*/ 0 h 2562667"/>
              <a:gd name="connsiteX2" fmla="*/ 2975420 w 2975420"/>
              <a:gd name="connsiteY2" fmla="*/ 2562667 h 2562667"/>
              <a:gd name="connsiteX3" fmla="*/ 0 w 2975420"/>
              <a:gd name="connsiteY3" fmla="*/ 2562667 h 2562667"/>
            </a:gdLst>
            <a:ahLst/>
            <a:cxnLst>
              <a:cxn ang="0">
                <a:pos x="connsiteX0" y="connsiteY0"/>
              </a:cxn>
              <a:cxn ang="0">
                <a:pos x="connsiteX1" y="connsiteY1"/>
              </a:cxn>
              <a:cxn ang="0">
                <a:pos x="connsiteX2" y="connsiteY2"/>
              </a:cxn>
              <a:cxn ang="0">
                <a:pos x="connsiteX3" y="connsiteY3"/>
              </a:cxn>
            </a:cxnLst>
            <a:rect l="l" t="t" r="r" b="b"/>
            <a:pathLst>
              <a:path w="2975420" h="2562667">
                <a:moveTo>
                  <a:pt x="0" y="0"/>
                </a:moveTo>
                <a:lnTo>
                  <a:pt x="2975420" y="0"/>
                </a:lnTo>
                <a:lnTo>
                  <a:pt x="2975420" y="2562667"/>
                </a:lnTo>
                <a:lnTo>
                  <a:pt x="0" y="2562667"/>
                </a:lnTo>
                <a:close/>
              </a:path>
            </a:pathLst>
          </a:custGeom>
          <a:solidFill>
            <a:schemeClr val="bg1">
              <a:lumMod val="95000"/>
            </a:schemeClr>
          </a:solidFill>
        </p:spPr>
        <p:txBody>
          <a:bodyPr wrap="square">
            <a:noAutofit/>
          </a:bodyPr>
          <a:lstStyle>
            <a:lvl1pPr marL="0" indent="0">
              <a:buNone/>
              <a:defRPr sz="2400"/>
            </a:lvl1pPr>
          </a:lstStyle>
          <a:p>
            <a:endParaRPr lang="en-IN"/>
          </a:p>
        </p:txBody>
      </p:sp>
      <p:sp>
        <p:nvSpPr>
          <p:cNvPr id="36" name="Picture Placeholder 35">
            <a:extLst>
              <a:ext uri="{FF2B5EF4-FFF2-40B4-BE49-F238E27FC236}">
                <a16:creationId xmlns:a16="http://schemas.microsoft.com/office/drawing/2014/main" xmlns="" id="{43FEC80B-FB98-4363-AA5A-150371C3A58F}"/>
              </a:ext>
            </a:extLst>
          </p:cNvPr>
          <p:cNvSpPr>
            <a:spLocks noGrp="1"/>
          </p:cNvSpPr>
          <p:nvPr>
            <p:ph type="pic" sz="quarter" idx="14"/>
          </p:nvPr>
        </p:nvSpPr>
        <p:spPr>
          <a:xfrm>
            <a:off x="7088724" y="3943004"/>
            <a:ext cx="4104365" cy="1912851"/>
          </a:xfrm>
          <a:custGeom>
            <a:avLst/>
            <a:gdLst>
              <a:gd name="connsiteX0" fmla="*/ 0 w 4103296"/>
              <a:gd name="connsiteY0" fmla="*/ 0 h 1912851"/>
              <a:gd name="connsiteX1" fmla="*/ 4103296 w 4103296"/>
              <a:gd name="connsiteY1" fmla="*/ 0 h 1912851"/>
              <a:gd name="connsiteX2" fmla="*/ 4103296 w 4103296"/>
              <a:gd name="connsiteY2" fmla="*/ 1912851 h 1912851"/>
              <a:gd name="connsiteX3" fmla="*/ 0 w 4103296"/>
              <a:gd name="connsiteY3" fmla="*/ 1912851 h 1912851"/>
            </a:gdLst>
            <a:ahLst/>
            <a:cxnLst>
              <a:cxn ang="0">
                <a:pos x="connsiteX0" y="connsiteY0"/>
              </a:cxn>
              <a:cxn ang="0">
                <a:pos x="connsiteX1" y="connsiteY1"/>
              </a:cxn>
              <a:cxn ang="0">
                <a:pos x="connsiteX2" y="connsiteY2"/>
              </a:cxn>
              <a:cxn ang="0">
                <a:pos x="connsiteX3" y="connsiteY3"/>
              </a:cxn>
            </a:cxnLst>
            <a:rect l="l" t="t" r="r" b="b"/>
            <a:pathLst>
              <a:path w="4103296" h="1912851">
                <a:moveTo>
                  <a:pt x="0" y="0"/>
                </a:moveTo>
                <a:lnTo>
                  <a:pt x="4103296" y="0"/>
                </a:lnTo>
                <a:lnTo>
                  <a:pt x="4103296" y="1912851"/>
                </a:lnTo>
                <a:lnTo>
                  <a:pt x="0" y="1912851"/>
                </a:lnTo>
                <a:close/>
              </a:path>
            </a:pathLst>
          </a:custGeom>
          <a:solidFill>
            <a:schemeClr val="bg1">
              <a:lumMod val="95000"/>
            </a:schemeClr>
          </a:solidFill>
        </p:spPr>
        <p:txBody>
          <a:bodyPr wrap="square">
            <a:noAutofit/>
          </a:bodyPr>
          <a:lstStyle>
            <a:lvl1pPr marL="0" indent="0">
              <a:buNone/>
              <a:defRPr sz="2400"/>
            </a:lvl1pPr>
          </a:lstStyle>
          <a:p>
            <a:endParaRPr lang="en-IN"/>
          </a:p>
        </p:txBody>
      </p:sp>
    </p:spTree>
    <p:extLst>
      <p:ext uri="{BB962C8B-B14F-4D97-AF65-F5344CB8AC3E}">
        <p14:creationId xmlns:p14="http://schemas.microsoft.com/office/powerpoint/2010/main" val="26681658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xmlns="" id="{B01451AF-AAB8-4200-9AA1-70DF9E952F11}"/>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 name="Date Placeholder 1"/>
          <p:cNvSpPr>
            <a:spLocks noGrp="1"/>
          </p:cNvSpPr>
          <p:nvPr>
            <p:ph type="dt" sz="half" idx="10"/>
          </p:nvPr>
        </p:nvSpPr>
        <p:spPr/>
        <p:txBody>
          <a:bodyPr/>
          <a:lstStyle/>
          <a:p>
            <a:fld id="{425404F2-BE9A-4460-8815-8F645183555F}" type="datetimeFigureOut">
              <a:rPr lang="en-US" smtClean="0"/>
              <a:pPr/>
              <a:t>9/2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380001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CC47C69-22BC-405B-8E87-FECE110BE624}" type="datetimeFigureOut">
              <a:rPr lang="en-US" smtClean="0"/>
              <a:pPr/>
              <a:t>9/2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40415587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7223952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53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7902417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25404F2-BE9A-4460-8815-8F645183555F}"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40261938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3"/>
          </a:xfrm>
        </p:spPr>
        <p:txBody>
          <a:bodyPr anchor="b"/>
          <a:lstStyle>
            <a:lvl1pPr marL="0" indent="0">
              <a:buNone/>
              <a:defRPr sz="32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25404F2-BE9A-4460-8815-8F645183555F}" type="datetimeFigureOut">
              <a:rPr lang="en-US" smtClean="0"/>
              <a:pPr/>
              <a:t>9/2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19652279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xmlns="" id="{2D52EE2A-D916-4AED-B325-45EC43B25400}"/>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sz="1800"/>
          </a:p>
        </p:txBody>
      </p:sp>
      <p:sp>
        <p:nvSpPr>
          <p:cNvPr id="2" name="Title 1"/>
          <p:cNvSpPr>
            <a:spLocks noGrp="1"/>
          </p:cNvSpPr>
          <p:nvPr>
            <p:ph type="title"/>
          </p:nvPr>
        </p:nvSpPr>
        <p:spPr/>
        <p:txBody>
          <a:bodyPr>
            <a:noAutofit/>
          </a:bodyPr>
          <a:lstStyle>
            <a:lvl1pPr>
              <a:defRPr sz="3600"/>
            </a:lvl1pPr>
          </a:lstStyle>
          <a:p>
            <a:r>
              <a:rPr lang="en-US"/>
              <a:t>Click to edit Master title style</a:t>
            </a:r>
          </a:p>
        </p:txBody>
      </p:sp>
      <p:sp>
        <p:nvSpPr>
          <p:cNvPr id="3" name="Date Placeholder 2"/>
          <p:cNvSpPr>
            <a:spLocks noGrp="1"/>
          </p:cNvSpPr>
          <p:nvPr>
            <p:ph type="dt" sz="half" idx="10"/>
          </p:nvPr>
        </p:nvSpPr>
        <p:spPr/>
        <p:txBody>
          <a:bodyPr/>
          <a:lstStyle/>
          <a:p>
            <a:fld id="{425404F2-BE9A-4460-8815-8F645183555F}"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2604647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8510069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1"/>
            <a:ext cx="7315200" cy="566739"/>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4300"/>
            </a:lvl1pPr>
            <a:lvl2pPr marL="609493" indent="0">
              <a:buNone/>
              <a:defRPr sz="3700"/>
            </a:lvl2pPr>
            <a:lvl3pPr marL="1218987" indent="0">
              <a:buNone/>
              <a:defRPr sz="3200"/>
            </a:lvl3pPr>
            <a:lvl4pPr marL="1828480" indent="0">
              <a:buNone/>
              <a:defRPr sz="2700"/>
            </a:lvl4pPr>
            <a:lvl5pPr marL="2437973" indent="0">
              <a:buNone/>
              <a:defRPr sz="2700"/>
            </a:lvl5pPr>
            <a:lvl6pPr marL="3047467" indent="0">
              <a:buNone/>
              <a:defRPr sz="2700"/>
            </a:lvl6pPr>
            <a:lvl7pPr marL="3656960" indent="0">
              <a:buNone/>
              <a:defRPr sz="2700"/>
            </a:lvl7pPr>
            <a:lvl8pPr marL="4266453" indent="0">
              <a:buNone/>
              <a:defRPr sz="2700"/>
            </a:lvl8pPr>
            <a:lvl9pPr marL="4875947" indent="0">
              <a:buNone/>
              <a:defRPr sz="2700"/>
            </a:lvl9pPr>
          </a:lstStyle>
          <a:p>
            <a:endParaRPr lang="en-US"/>
          </a:p>
        </p:txBody>
      </p:sp>
      <p:sp>
        <p:nvSpPr>
          <p:cNvPr id="4" name="Text Placeholder 3"/>
          <p:cNvSpPr>
            <a:spLocks noGrp="1"/>
          </p:cNvSpPr>
          <p:nvPr>
            <p:ph type="body" sz="half" idx="2"/>
          </p:nvPr>
        </p:nvSpPr>
        <p:spPr>
          <a:xfrm>
            <a:off x="2389718" y="5367339"/>
            <a:ext cx="7315200" cy="804863"/>
          </a:xfrm>
        </p:spPr>
        <p:txBody>
          <a:bodyPr/>
          <a:lstStyle>
            <a:lvl1pPr marL="0" indent="0">
              <a:buNone/>
              <a:defRPr sz="19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975835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641091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9/2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23586996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lidemodel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E69268-9C8B-4EBF-A9EE-DC5DC2D48DC3}" type="slidenum">
              <a:rPr lang="en-US" smtClean="0"/>
              <a:pPr/>
              <a:t>‹#›</a:t>
            </a:fld>
            <a:endParaRPr lang="en-US"/>
          </a:p>
        </p:txBody>
      </p:sp>
    </p:spTree>
    <p:extLst>
      <p:ext uri="{BB962C8B-B14F-4D97-AF65-F5344CB8AC3E}">
        <p14:creationId xmlns:p14="http://schemas.microsoft.com/office/powerpoint/2010/main" val="3438577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CC47C69-22BC-405B-8E87-FECE110BE624}" type="datetimeFigureOut">
              <a:rPr lang="en-US" smtClean="0"/>
              <a:pPr/>
              <a:t>9/2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23039540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
        <p:nvSpPr>
          <p:cNvPr id="5" name="Freeform: Shape 4">
            <a:extLst>
              <a:ext uri="{FF2B5EF4-FFF2-40B4-BE49-F238E27FC236}">
                <a16:creationId xmlns:a16="http://schemas.microsoft.com/office/drawing/2014/main" xmlns="" id="{468F6418-2F54-45D4-A57F-70F7C2212E90}"/>
              </a:ext>
            </a:extLst>
          </p:cNvPr>
          <p:cNvSpPr/>
          <p:nvPr userDrawn="1"/>
        </p:nvSpPr>
        <p:spPr>
          <a:xfrm>
            <a:off x="-20054" y="5839006"/>
            <a:ext cx="12212054" cy="794973"/>
          </a:xfrm>
          <a:custGeom>
            <a:avLst/>
            <a:gdLst>
              <a:gd name="connsiteX0" fmla="*/ 5579269 w 5600700"/>
              <a:gd name="connsiteY0" fmla="*/ 285274 h 409575"/>
              <a:gd name="connsiteX1" fmla="*/ 5285899 w 5600700"/>
              <a:gd name="connsiteY1" fmla="*/ 285274 h 409575"/>
              <a:gd name="connsiteX2" fmla="*/ 5258277 w 5600700"/>
              <a:gd name="connsiteY2" fmla="*/ 323374 h 409575"/>
              <a:gd name="connsiteX3" fmla="*/ 5218271 w 5600700"/>
              <a:gd name="connsiteY3" fmla="*/ 153829 h 409575"/>
              <a:gd name="connsiteX4" fmla="*/ 5182077 w 5600700"/>
              <a:gd name="connsiteY4" fmla="*/ 285274 h 409575"/>
              <a:gd name="connsiteX5" fmla="*/ 5094446 w 5600700"/>
              <a:gd name="connsiteY5" fmla="*/ 285274 h 409575"/>
              <a:gd name="connsiteX6" fmla="*/ 5081111 w 5600700"/>
              <a:gd name="connsiteY6" fmla="*/ 335756 h 409575"/>
              <a:gd name="connsiteX7" fmla="*/ 5057299 w 5600700"/>
              <a:gd name="connsiteY7" fmla="*/ 277654 h 409575"/>
              <a:gd name="connsiteX8" fmla="*/ 5033486 w 5600700"/>
              <a:gd name="connsiteY8" fmla="*/ 322421 h 409575"/>
              <a:gd name="connsiteX9" fmla="*/ 4988719 w 5600700"/>
              <a:gd name="connsiteY9" fmla="*/ 21431 h 409575"/>
              <a:gd name="connsiteX10" fmla="*/ 4933474 w 5600700"/>
              <a:gd name="connsiteY10" fmla="*/ 393859 h 409575"/>
              <a:gd name="connsiteX11" fmla="*/ 4912519 w 5600700"/>
              <a:gd name="connsiteY11" fmla="*/ 285274 h 409575"/>
              <a:gd name="connsiteX12" fmla="*/ 4686777 w 5600700"/>
              <a:gd name="connsiteY12" fmla="*/ 285274 h 409575"/>
              <a:gd name="connsiteX13" fmla="*/ 4657249 w 5600700"/>
              <a:gd name="connsiteY13" fmla="*/ 344329 h 409575"/>
              <a:gd name="connsiteX14" fmla="*/ 4622006 w 5600700"/>
              <a:gd name="connsiteY14" fmla="*/ 150971 h 409575"/>
              <a:gd name="connsiteX15" fmla="*/ 4579144 w 5600700"/>
              <a:gd name="connsiteY15" fmla="*/ 285274 h 409575"/>
              <a:gd name="connsiteX16" fmla="*/ 4492466 w 5600700"/>
              <a:gd name="connsiteY16" fmla="*/ 285274 h 409575"/>
              <a:gd name="connsiteX17" fmla="*/ 4467702 w 5600700"/>
              <a:gd name="connsiteY17" fmla="*/ 322421 h 409575"/>
              <a:gd name="connsiteX18" fmla="*/ 4441984 w 5600700"/>
              <a:gd name="connsiteY18" fmla="*/ 275749 h 409575"/>
              <a:gd name="connsiteX19" fmla="*/ 4408646 w 5600700"/>
              <a:gd name="connsiteY19" fmla="*/ 336709 h 409575"/>
              <a:gd name="connsiteX20" fmla="*/ 4377214 w 5600700"/>
              <a:gd name="connsiteY20" fmla="*/ 72866 h 409575"/>
              <a:gd name="connsiteX21" fmla="*/ 4336256 w 5600700"/>
              <a:gd name="connsiteY21" fmla="*/ 377666 h 409575"/>
              <a:gd name="connsiteX22" fmla="*/ 4308634 w 5600700"/>
              <a:gd name="connsiteY22" fmla="*/ 285274 h 409575"/>
              <a:gd name="connsiteX23" fmla="*/ 4239102 w 5600700"/>
              <a:gd name="connsiteY23" fmla="*/ 285274 h 409575"/>
              <a:gd name="connsiteX24" fmla="*/ 4210527 w 5600700"/>
              <a:gd name="connsiteY24" fmla="*/ 237649 h 409575"/>
              <a:gd name="connsiteX25" fmla="*/ 4178141 w 5600700"/>
              <a:gd name="connsiteY25" fmla="*/ 285274 h 409575"/>
              <a:gd name="connsiteX26" fmla="*/ 21431 w 5600700"/>
              <a:gd name="connsiteY26" fmla="*/ 285274 h 409575"/>
              <a:gd name="connsiteX0" fmla="*/ 5196891 w 5196891"/>
              <a:gd name="connsiteY0" fmla="*/ 263843 h 372428"/>
              <a:gd name="connsiteX1" fmla="*/ 4903521 w 5196891"/>
              <a:gd name="connsiteY1" fmla="*/ 263843 h 372428"/>
              <a:gd name="connsiteX2" fmla="*/ 4875899 w 5196891"/>
              <a:gd name="connsiteY2" fmla="*/ 301943 h 372428"/>
              <a:gd name="connsiteX3" fmla="*/ 4835893 w 5196891"/>
              <a:gd name="connsiteY3" fmla="*/ 132398 h 372428"/>
              <a:gd name="connsiteX4" fmla="*/ 4799699 w 5196891"/>
              <a:gd name="connsiteY4" fmla="*/ 263843 h 372428"/>
              <a:gd name="connsiteX5" fmla="*/ 4712068 w 5196891"/>
              <a:gd name="connsiteY5" fmla="*/ 263843 h 372428"/>
              <a:gd name="connsiteX6" fmla="*/ 4698733 w 5196891"/>
              <a:gd name="connsiteY6" fmla="*/ 314325 h 372428"/>
              <a:gd name="connsiteX7" fmla="*/ 4674921 w 5196891"/>
              <a:gd name="connsiteY7" fmla="*/ 256223 h 372428"/>
              <a:gd name="connsiteX8" fmla="*/ 4651108 w 5196891"/>
              <a:gd name="connsiteY8" fmla="*/ 300990 h 372428"/>
              <a:gd name="connsiteX9" fmla="*/ 4606341 w 5196891"/>
              <a:gd name="connsiteY9" fmla="*/ 0 h 372428"/>
              <a:gd name="connsiteX10" fmla="*/ 4551096 w 5196891"/>
              <a:gd name="connsiteY10" fmla="*/ 372428 h 372428"/>
              <a:gd name="connsiteX11" fmla="*/ 4530141 w 5196891"/>
              <a:gd name="connsiteY11" fmla="*/ 263843 h 372428"/>
              <a:gd name="connsiteX12" fmla="*/ 4304399 w 5196891"/>
              <a:gd name="connsiteY12" fmla="*/ 263843 h 372428"/>
              <a:gd name="connsiteX13" fmla="*/ 4274871 w 5196891"/>
              <a:gd name="connsiteY13" fmla="*/ 322898 h 372428"/>
              <a:gd name="connsiteX14" fmla="*/ 4239628 w 5196891"/>
              <a:gd name="connsiteY14" fmla="*/ 129540 h 372428"/>
              <a:gd name="connsiteX15" fmla="*/ 4196766 w 5196891"/>
              <a:gd name="connsiteY15" fmla="*/ 263843 h 372428"/>
              <a:gd name="connsiteX16" fmla="*/ 4110088 w 5196891"/>
              <a:gd name="connsiteY16" fmla="*/ 263843 h 372428"/>
              <a:gd name="connsiteX17" fmla="*/ 4085324 w 5196891"/>
              <a:gd name="connsiteY17" fmla="*/ 300990 h 372428"/>
              <a:gd name="connsiteX18" fmla="*/ 4059606 w 5196891"/>
              <a:gd name="connsiteY18" fmla="*/ 254318 h 372428"/>
              <a:gd name="connsiteX19" fmla="*/ 4026268 w 5196891"/>
              <a:gd name="connsiteY19" fmla="*/ 315278 h 372428"/>
              <a:gd name="connsiteX20" fmla="*/ 3994836 w 5196891"/>
              <a:gd name="connsiteY20" fmla="*/ 51435 h 372428"/>
              <a:gd name="connsiteX21" fmla="*/ 3953878 w 5196891"/>
              <a:gd name="connsiteY21" fmla="*/ 356235 h 372428"/>
              <a:gd name="connsiteX22" fmla="*/ 3926256 w 5196891"/>
              <a:gd name="connsiteY22" fmla="*/ 263843 h 372428"/>
              <a:gd name="connsiteX23" fmla="*/ 3856724 w 5196891"/>
              <a:gd name="connsiteY23" fmla="*/ 263843 h 372428"/>
              <a:gd name="connsiteX24" fmla="*/ 3828149 w 5196891"/>
              <a:gd name="connsiteY24" fmla="*/ 216218 h 372428"/>
              <a:gd name="connsiteX25" fmla="*/ 3795763 w 5196891"/>
              <a:gd name="connsiteY25" fmla="*/ 263843 h 372428"/>
              <a:gd name="connsiteX26" fmla="*/ 0 w 5196891"/>
              <a:gd name="connsiteY26" fmla="*/ 275874 h 372428"/>
              <a:gd name="connsiteX0" fmla="*/ 5196891 w 5196891"/>
              <a:gd name="connsiteY0" fmla="*/ 263843 h 372428"/>
              <a:gd name="connsiteX1" fmla="*/ 4903521 w 5196891"/>
              <a:gd name="connsiteY1" fmla="*/ 263843 h 372428"/>
              <a:gd name="connsiteX2" fmla="*/ 4875899 w 5196891"/>
              <a:gd name="connsiteY2" fmla="*/ 301943 h 372428"/>
              <a:gd name="connsiteX3" fmla="*/ 4835893 w 5196891"/>
              <a:gd name="connsiteY3" fmla="*/ 132398 h 372428"/>
              <a:gd name="connsiteX4" fmla="*/ 4799699 w 5196891"/>
              <a:gd name="connsiteY4" fmla="*/ 263843 h 372428"/>
              <a:gd name="connsiteX5" fmla="*/ 4712068 w 5196891"/>
              <a:gd name="connsiteY5" fmla="*/ 263843 h 372428"/>
              <a:gd name="connsiteX6" fmla="*/ 4698733 w 5196891"/>
              <a:gd name="connsiteY6" fmla="*/ 314325 h 372428"/>
              <a:gd name="connsiteX7" fmla="*/ 4674921 w 5196891"/>
              <a:gd name="connsiteY7" fmla="*/ 256223 h 372428"/>
              <a:gd name="connsiteX8" fmla="*/ 4651108 w 5196891"/>
              <a:gd name="connsiteY8" fmla="*/ 300990 h 372428"/>
              <a:gd name="connsiteX9" fmla="*/ 4606341 w 5196891"/>
              <a:gd name="connsiteY9" fmla="*/ 0 h 372428"/>
              <a:gd name="connsiteX10" fmla="*/ 4551096 w 5196891"/>
              <a:gd name="connsiteY10" fmla="*/ 372428 h 372428"/>
              <a:gd name="connsiteX11" fmla="*/ 4530141 w 5196891"/>
              <a:gd name="connsiteY11" fmla="*/ 263843 h 372428"/>
              <a:gd name="connsiteX12" fmla="*/ 4304399 w 5196891"/>
              <a:gd name="connsiteY12" fmla="*/ 263843 h 372428"/>
              <a:gd name="connsiteX13" fmla="*/ 4274871 w 5196891"/>
              <a:gd name="connsiteY13" fmla="*/ 322898 h 372428"/>
              <a:gd name="connsiteX14" fmla="*/ 4239628 w 5196891"/>
              <a:gd name="connsiteY14" fmla="*/ 129540 h 372428"/>
              <a:gd name="connsiteX15" fmla="*/ 4196766 w 5196891"/>
              <a:gd name="connsiteY15" fmla="*/ 263843 h 372428"/>
              <a:gd name="connsiteX16" fmla="*/ 4110088 w 5196891"/>
              <a:gd name="connsiteY16" fmla="*/ 263843 h 372428"/>
              <a:gd name="connsiteX17" fmla="*/ 4085324 w 5196891"/>
              <a:gd name="connsiteY17" fmla="*/ 300990 h 372428"/>
              <a:gd name="connsiteX18" fmla="*/ 4059606 w 5196891"/>
              <a:gd name="connsiteY18" fmla="*/ 254318 h 372428"/>
              <a:gd name="connsiteX19" fmla="*/ 4026268 w 5196891"/>
              <a:gd name="connsiteY19" fmla="*/ 315278 h 372428"/>
              <a:gd name="connsiteX20" fmla="*/ 3994836 w 5196891"/>
              <a:gd name="connsiteY20" fmla="*/ 51435 h 372428"/>
              <a:gd name="connsiteX21" fmla="*/ 3953878 w 5196891"/>
              <a:gd name="connsiteY21" fmla="*/ 356235 h 372428"/>
              <a:gd name="connsiteX22" fmla="*/ 3926256 w 5196891"/>
              <a:gd name="connsiteY22" fmla="*/ 263843 h 372428"/>
              <a:gd name="connsiteX23" fmla="*/ 3856724 w 5196891"/>
              <a:gd name="connsiteY23" fmla="*/ 263843 h 372428"/>
              <a:gd name="connsiteX24" fmla="*/ 3828149 w 5196891"/>
              <a:gd name="connsiteY24" fmla="*/ 216218 h 372428"/>
              <a:gd name="connsiteX25" fmla="*/ 3795763 w 5196891"/>
              <a:gd name="connsiteY25" fmla="*/ 263843 h 372428"/>
              <a:gd name="connsiteX26" fmla="*/ 0 w 5196891"/>
              <a:gd name="connsiteY26" fmla="*/ 263842 h 372428"/>
              <a:gd name="connsiteX0" fmla="*/ 5698543 w 5698543"/>
              <a:gd name="connsiteY0" fmla="*/ 252570 h 372428"/>
              <a:gd name="connsiteX1" fmla="*/ 4903521 w 5698543"/>
              <a:gd name="connsiteY1" fmla="*/ 263843 h 372428"/>
              <a:gd name="connsiteX2" fmla="*/ 4875899 w 5698543"/>
              <a:gd name="connsiteY2" fmla="*/ 301943 h 372428"/>
              <a:gd name="connsiteX3" fmla="*/ 4835893 w 5698543"/>
              <a:gd name="connsiteY3" fmla="*/ 132398 h 372428"/>
              <a:gd name="connsiteX4" fmla="*/ 4799699 w 5698543"/>
              <a:gd name="connsiteY4" fmla="*/ 263843 h 372428"/>
              <a:gd name="connsiteX5" fmla="*/ 4712068 w 5698543"/>
              <a:gd name="connsiteY5" fmla="*/ 263843 h 372428"/>
              <a:gd name="connsiteX6" fmla="*/ 4698733 w 5698543"/>
              <a:gd name="connsiteY6" fmla="*/ 314325 h 372428"/>
              <a:gd name="connsiteX7" fmla="*/ 4674921 w 5698543"/>
              <a:gd name="connsiteY7" fmla="*/ 256223 h 372428"/>
              <a:gd name="connsiteX8" fmla="*/ 4651108 w 5698543"/>
              <a:gd name="connsiteY8" fmla="*/ 300990 h 372428"/>
              <a:gd name="connsiteX9" fmla="*/ 4606341 w 5698543"/>
              <a:gd name="connsiteY9" fmla="*/ 0 h 372428"/>
              <a:gd name="connsiteX10" fmla="*/ 4551096 w 5698543"/>
              <a:gd name="connsiteY10" fmla="*/ 372428 h 372428"/>
              <a:gd name="connsiteX11" fmla="*/ 4530141 w 5698543"/>
              <a:gd name="connsiteY11" fmla="*/ 263843 h 372428"/>
              <a:gd name="connsiteX12" fmla="*/ 4304399 w 5698543"/>
              <a:gd name="connsiteY12" fmla="*/ 263843 h 372428"/>
              <a:gd name="connsiteX13" fmla="*/ 4274871 w 5698543"/>
              <a:gd name="connsiteY13" fmla="*/ 322898 h 372428"/>
              <a:gd name="connsiteX14" fmla="*/ 4239628 w 5698543"/>
              <a:gd name="connsiteY14" fmla="*/ 129540 h 372428"/>
              <a:gd name="connsiteX15" fmla="*/ 4196766 w 5698543"/>
              <a:gd name="connsiteY15" fmla="*/ 263843 h 372428"/>
              <a:gd name="connsiteX16" fmla="*/ 4110088 w 5698543"/>
              <a:gd name="connsiteY16" fmla="*/ 263843 h 372428"/>
              <a:gd name="connsiteX17" fmla="*/ 4085324 w 5698543"/>
              <a:gd name="connsiteY17" fmla="*/ 300990 h 372428"/>
              <a:gd name="connsiteX18" fmla="*/ 4059606 w 5698543"/>
              <a:gd name="connsiteY18" fmla="*/ 254318 h 372428"/>
              <a:gd name="connsiteX19" fmla="*/ 4026268 w 5698543"/>
              <a:gd name="connsiteY19" fmla="*/ 315278 h 372428"/>
              <a:gd name="connsiteX20" fmla="*/ 3994836 w 5698543"/>
              <a:gd name="connsiteY20" fmla="*/ 51435 h 372428"/>
              <a:gd name="connsiteX21" fmla="*/ 3953878 w 5698543"/>
              <a:gd name="connsiteY21" fmla="*/ 356235 h 372428"/>
              <a:gd name="connsiteX22" fmla="*/ 3926256 w 5698543"/>
              <a:gd name="connsiteY22" fmla="*/ 263843 h 372428"/>
              <a:gd name="connsiteX23" fmla="*/ 3856724 w 5698543"/>
              <a:gd name="connsiteY23" fmla="*/ 263843 h 372428"/>
              <a:gd name="connsiteX24" fmla="*/ 3828149 w 5698543"/>
              <a:gd name="connsiteY24" fmla="*/ 216218 h 372428"/>
              <a:gd name="connsiteX25" fmla="*/ 3795763 w 5698543"/>
              <a:gd name="connsiteY25" fmla="*/ 263843 h 372428"/>
              <a:gd name="connsiteX26" fmla="*/ 0 w 5698543"/>
              <a:gd name="connsiteY26" fmla="*/ 263842 h 372428"/>
              <a:gd name="connsiteX0" fmla="*/ 5506901 w 5506901"/>
              <a:gd name="connsiteY0" fmla="*/ 252570 h 372428"/>
              <a:gd name="connsiteX1" fmla="*/ 4903521 w 5506901"/>
              <a:gd name="connsiteY1" fmla="*/ 263843 h 372428"/>
              <a:gd name="connsiteX2" fmla="*/ 4875899 w 5506901"/>
              <a:gd name="connsiteY2" fmla="*/ 301943 h 372428"/>
              <a:gd name="connsiteX3" fmla="*/ 4835893 w 5506901"/>
              <a:gd name="connsiteY3" fmla="*/ 132398 h 372428"/>
              <a:gd name="connsiteX4" fmla="*/ 4799699 w 5506901"/>
              <a:gd name="connsiteY4" fmla="*/ 263843 h 372428"/>
              <a:gd name="connsiteX5" fmla="*/ 4712068 w 5506901"/>
              <a:gd name="connsiteY5" fmla="*/ 263843 h 372428"/>
              <a:gd name="connsiteX6" fmla="*/ 4698733 w 5506901"/>
              <a:gd name="connsiteY6" fmla="*/ 314325 h 372428"/>
              <a:gd name="connsiteX7" fmla="*/ 4674921 w 5506901"/>
              <a:gd name="connsiteY7" fmla="*/ 256223 h 372428"/>
              <a:gd name="connsiteX8" fmla="*/ 4651108 w 5506901"/>
              <a:gd name="connsiteY8" fmla="*/ 300990 h 372428"/>
              <a:gd name="connsiteX9" fmla="*/ 4606341 w 5506901"/>
              <a:gd name="connsiteY9" fmla="*/ 0 h 372428"/>
              <a:gd name="connsiteX10" fmla="*/ 4551096 w 5506901"/>
              <a:gd name="connsiteY10" fmla="*/ 372428 h 372428"/>
              <a:gd name="connsiteX11" fmla="*/ 4530141 w 5506901"/>
              <a:gd name="connsiteY11" fmla="*/ 263843 h 372428"/>
              <a:gd name="connsiteX12" fmla="*/ 4304399 w 5506901"/>
              <a:gd name="connsiteY12" fmla="*/ 263843 h 372428"/>
              <a:gd name="connsiteX13" fmla="*/ 4274871 w 5506901"/>
              <a:gd name="connsiteY13" fmla="*/ 322898 h 372428"/>
              <a:gd name="connsiteX14" fmla="*/ 4239628 w 5506901"/>
              <a:gd name="connsiteY14" fmla="*/ 129540 h 372428"/>
              <a:gd name="connsiteX15" fmla="*/ 4196766 w 5506901"/>
              <a:gd name="connsiteY15" fmla="*/ 263843 h 372428"/>
              <a:gd name="connsiteX16" fmla="*/ 4110088 w 5506901"/>
              <a:gd name="connsiteY16" fmla="*/ 263843 h 372428"/>
              <a:gd name="connsiteX17" fmla="*/ 4085324 w 5506901"/>
              <a:gd name="connsiteY17" fmla="*/ 300990 h 372428"/>
              <a:gd name="connsiteX18" fmla="*/ 4059606 w 5506901"/>
              <a:gd name="connsiteY18" fmla="*/ 254318 h 372428"/>
              <a:gd name="connsiteX19" fmla="*/ 4026268 w 5506901"/>
              <a:gd name="connsiteY19" fmla="*/ 315278 h 372428"/>
              <a:gd name="connsiteX20" fmla="*/ 3994836 w 5506901"/>
              <a:gd name="connsiteY20" fmla="*/ 51435 h 372428"/>
              <a:gd name="connsiteX21" fmla="*/ 3953878 w 5506901"/>
              <a:gd name="connsiteY21" fmla="*/ 356235 h 372428"/>
              <a:gd name="connsiteX22" fmla="*/ 3926256 w 5506901"/>
              <a:gd name="connsiteY22" fmla="*/ 263843 h 372428"/>
              <a:gd name="connsiteX23" fmla="*/ 3856724 w 5506901"/>
              <a:gd name="connsiteY23" fmla="*/ 263843 h 372428"/>
              <a:gd name="connsiteX24" fmla="*/ 3828149 w 5506901"/>
              <a:gd name="connsiteY24" fmla="*/ 216218 h 372428"/>
              <a:gd name="connsiteX25" fmla="*/ 3795763 w 5506901"/>
              <a:gd name="connsiteY25" fmla="*/ 263843 h 372428"/>
              <a:gd name="connsiteX26" fmla="*/ 0 w 5506901"/>
              <a:gd name="connsiteY26" fmla="*/ 263842 h 372428"/>
              <a:gd name="connsiteX0" fmla="*/ 5721090 w 5721090"/>
              <a:gd name="connsiteY0" fmla="*/ 252570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58205 h 372428"/>
              <a:gd name="connsiteX0" fmla="*/ 5721090 w 5721090"/>
              <a:gd name="connsiteY0" fmla="*/ 258207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58205 h 372428"/>
              <a:gd name="connsiteX0" fmla="*/ 5721090 w 5721090"/>
              <a:gd name="connsiteY0" fmla="*/ 258207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69478 h 3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21090" h="372428">
                <a:moveTo>
                  <a:pt x="5721090" y="258207"/>
                </a:moveTo>
                <a:lnTo>
                  <a:pt x="5117710" y="263843"/>
                </a:lnTo>
                <a:lnTo>
                  <a:pt x="5090088" y="301943"/>
                </a:lnTo>
                <a:lnTo>
                  <a:pt x="5050082" y="132398"/>
                </a:lnTo>
                <a:lnTo>
                  <a:pt x="5013888" y="263843"/>
                </a:lnTo>
                <a:lnTo>
                  <a:pt x="4926257" y="263843"/>
                </a:lnTo>
                <a:lnTo>
                  <a:pt x="4912922" y="314325"/>
                </a:lnTo>
                <a:lnTo>
                  <a:pt x="4889110" y="256223"/>
                </a:lnTo>
                <a:lnTo>
                  <a:pt x="4865297" y="300990"/>
                </a:lnTo>
                <a:lnTo>
                  <a:pt x="4820530" y="0"/>
                </a:lnTo>
                <a:lnTo>
                  <a:pt x="4765285" y="372428"/>
                </a:lnTo>
                <a:lnTo>
                  <a:pt x="4744330" y="263843"/>
                </a:lnTo>
                <a:lnTo>
                  <a:pt x="4518588" y="263843"/>
                </a:lnTo>
                <a:lnTo>
                  <a:pt x="4489060" y="322898"/>
                </a:lnTo>
                <a:lnTo>
                  <a:pt x="4453817" y="129540"/>
                </a:lnTo>
                <a:lnTo>
                  <a:pt x="4410955" y="263843"/>
                </a:lnTo>
                <a:lnTo>
                  <a:pt x="4324277" y="263843"/>
                </a:lnTo>
                <a:lnTo>
                  <a:pt x="4299513" y="300990"/>
                </a:lnTo>
                <a:lnTo>
                  <a:pt x="4273795" y="254318"/>
                </a:lnTo>
                <a:lnTo>
                  <a:pt x="4240457" y="315278"/>
                </a:lnTo>
                <a:lnTo>
                  <a:pt x="4209025" y="51435"/>
                </a:lnTo>
                <a:lnTo>
                  <a:pt x="4168067" y="356235"/>
                </a:lnTo>
                <a:lnTo>
                  <a:pt x="4140445" y="263843"/>
                </a:lnTo>
                <a:lnTo>
                  <a:pt x="4070913" y="263843"/>
                </a:lnTo>
                <a:lnTo>
                  <a:pt x="4042338" y="216218"/>
                </a:lnTo>
                <a:lnTo>
                  <a:pt x="4009952" y="263843"/>
                </a:lnTo>
                <a:lnTo>
                  <a:pt x="0" y="269478"/>
                </a:lnTo>
              </a:path>
            </a:pathLst>
          </a:custGeom>
          <a:noFill/>
          <a:ln w="28575" cap="rnd">
            <a:solidFill>
              <a:schemeClr val="accent1"/>
            </a:solidFill>
            <a:prstDash val="solid"/>
            <a:round/>
          </a:ln>
        </p:spPr>
        <p:txBody>
          <a:bodyPr rtlCol="0" anchor="ctr"/>
          <a:lstStyle/>
          <a:p>
            <a:endParaRPr lang="en-US"/>
          </a:p>
        </p:txBody>
      </p:sp>
    </p:spTree>
    <p:extLst>
      <p:ext uri="{BB962C8B-B14F-4D97-AF65-F5344CB8AC3E}">
        <p14:creationId xmlns:p14="http://schemas.microsoft.com/office/powerpoint/2010/main" val="1520986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grpSp>
        <p:nvGrpSpPr>
          <p:cNvPr id="4" name="Group 3">
            <a:extLst>
              <a:ext uri="{FF2B5EF4-FFF2-40B4-BE49-F238E27FC236}">
                <a16:creationId xmlns:a16="http://schemas.microsoft.com/office/drawing/2014/main" xmlns="" id="{6BA95570-ABCA-4EAA-A150-DE9A778788FF}"/>
              </a:ext>
            </a:extLst>
          </p:cNvPr>
          <p:cNvGrpSpPr/>
          <p:nvPr userDrawn="1"/>
        </p:nvGrpSpPr>
        <p:grpSpPr>
          <a:xfrm rot="10800000" flipH="1" flipV="1">
            <a:off x="6286500" y="5899288"/>
            <a:ext cx="5572126" cy="862288"/>
            <a:chOff x="477110" y="4905446"/>
            <a:chExt cx="11078677" cy="1714429"/>
          </a:xfrm>
        </p:grpSpPr>
        <p:sp>
          <p:nvSpPr>
            <p:cNvPr id="6" name="Freeform: Shape 5">
              <a:extLst>
                <a:ext uri="{FF2B5EF4-FFF2-40B4-BE49-F238E27FC236}">
                  <a16:creationId xmlns:a16="http://schemas.microsoft.com/office/drawing/2014/main" xmlns="" id="{46A78A61-879F-457D-9A77-D666DFE521FF}"/>
                </a:ext>
              </a:extLst>
            </p:cNvPr>
            <p:cNvSpPr/>
            <p:nvPr/>
          </p:nvSpPr>
          <p:spPr>
            <a:xfrm>
              <a:off x="6913640" y="4905446"/>
              <a:ext cx="4642147" cy="1714429"/>
            </a:xfrm>
            <a:custGeom>
              <a:avLst/>
              <a:gdLst>
                <a:gd name="connsiteX0" fmla="*/ 4794342 w 4797505"/>
                <a:gd name="connsiteY0" fmla="*/ 184721 h 1771805"/>
                <a:gd name="connsiteX1" fmla="*/ 4759588 w 4797505"/>
                <a:gd name="connsiteY1" fmla="*/ 70236 h 1771805"/>
                <a:gd name="connsiteX2" fmla="*/ 4668953 w 4797505"/>
                <a:gd name="connsiteY2" fmla="*/ 27303 h 1771805"/>
                <a:gd name="connsiteX3" fmla="*/ 4624657 w 4797505"/>
                <a:gd name="connsiteY3" fmla="*/ 6178 h 1771805"/>
                <a:gd name="connsiteX4" fmla="*/ 4564007 w 4797505"/>
                <a:gd name="connsiteY4" fmla="*/ 39570 h 1771805"/>
                <a:gd name="connsiteX5" fmla="*/ 4616480 w 4797505"/>
                <a:gd name="connsiteY5" fmla="*/ 84546 h 1771805"/>
                <a:gd name="connsiteX6" fmla="*/ 4665545 w 4797505"/>
                <a:gd name="connsiteY6" fmla="*/ 71598 h 1771805"/>
                <a:gd name="connsiteX7" fmla="*/ 4727559 w 4797505"/>
                <a:gd name="connsiteY7" fmla="*/ 101583 h 1771805"/>
                <a:gd name="connsiteX8" fmla="*/ 4750047 w 4797505"/>
                <a:gd name="connsiteY8" fmla="*/ 180633 h 1771805"/>
                <a:gd name="connsiteX9" fmla="*/ 4663501 w 4797505"/>
                <a:gd name="connsiteY9" fmla="*/ 456625 h 1771805"/>
                <a:gd name="connsiteX10" fmla="*/ 4638968 w 4797505"/>
                <a:gd name="connsiteY10" fmla="*/ 494787 h 1771805"/>
                <a:gd name="connsiteX11" fmla="*/ 4613073 w 4797505"/>
                <a:gd name="connsiteY11" fmla="*/ 507054 h 1771805"/>
                <a:gd name="connsiteX12" fmla="*/ 4430440 w 4797505"/>
                <a:gd name="connsiteY12" fmla="*/ 593600 h 1771805"/>
                <a:gd name="connsiteX13" fmla="*/ 4257349 w 4797505"/>
                <a:gd name="connsiteY13" fmla="*/ 504328 h 1771805"/>
                <a:gd name="connsiteX14" fmla="*/ 4231453 w 4797505"/>
                <a:gd name="connsiteY14" fmla="*/ 492062 h 1771805"/>
                <a:gd name="connsiteX15" fmla="*/ 4206920 w 4797505"/>
                <a:gd name="connsiteY15" fmla="*/ 453900 h 1771805"/>
                <a:gd name="connsiteX16" fmla="*/ 4119011 w 4797505"/>
                <a:gd name="connsiteY16" fmla="*/ 178588 h 1771805"/>
                <a:gd name="connsiteX17" fmla="*/ 4140818 w 4797505"/>
                <a:gd name="connsiteY17" fmla="*/ 99538 h 1771805"/>
                <a:gd name="connsiteX18" fmla="*/ 4203513 w 4797505"/>
                <a:gd name="connsiteY18" fmla="*/ 69554 h 1771805"/>
                <a:gd name="connsiteX19" fmla="*/ 4252578 w 4797505"/>
                <a:gd name="connsiteY19" fmla="*/ 82502 h 1771805"/>
                <a:gd name="connsiteX20" fmla="*/ 4305051 w 4797505"/>
                <a:gd name="connsiteY20" fmla="*/ 37525 h 1771805"/>
                <a:gd name="connsiteX21" fmla="*/ 4244401 w 4797505"/>
                <a:gd name="connsiteY21" fmla="*/ 4134 h 1771805"/>
                <a:gd name="connsiteX22" fmla="*/ 4199424 w 4797505"/>
                <a:gd name="connsiteY22" fmla="*/ 25259 h 1771805"/>
                <a:gd name="connsiteX23" fmla="*/ 4109471 w 4797505"/>
                <a:gd name="connsiteY23" fmla="*/ 68191 h 1771805"/>
                <a:gd name="connsiteX24" fmla="*/ 4075398 w 4797505"/>
                <a:gd name="connsiteY24" fmla="*/ 183359 h 1771805"/>
                <a:gd name="connsiteX25" fmla="*/ 4196698 w 4797505"/>
                <a:gd name="connsiteY25" fmla="*/ 520002 h 1771805"/>
                <a:gd name="connsiteX26" fmla="*/ 4204195 w 4797505"/>
                <a:gd name="connsiteY26" fmla="*/ 549986 h 1771805"/>
                <a:gd name="connsiteX27" fmla="*/ 4391597 w 4797505"/>
                <a:gd name="connsiteY27" fmla="*/ 660383 h 1771805"/>
                <a:gd name="connsiteX28" fmla="*/ 4391597 w 4797505"/>
                <a:gd name="connsiteY28" fmla="*/ 928880 h 1771805"/>
                <a:gd name="connsiteX29" fmla="*/ 4318680 w 4797505"/>
                <a:gd name="connsiteY29" fmla="*/ 1031099 h 1771805"/>
                <a:gd name="connsiteX30" fmla="*/ 3718992 w 4797505"/>
                <a:gd name="connsiteY30" fmla="*/ 1031099 h 1771805"/>
                <a:gd name="connsiteX31" fmla="*/ 3638579 w 4797505"/>
                <a:gd name="connsiteY31" fmla="*/ 673331 h 1771805"/>
                <a:gd name="connsiteX32" fmla="*/ 3626313 w 4797505"/>
                <a:gd name="connsiteY32" fmla="*/ 654250 h 1771805"/>
                <a:gd name="connsiteX33" fmla="*/ 3604506 w 4797505"/>
                <a:gd name="connsiteY33" fmla="*/ 646754 h 1771805"/>
                <a:gd name="connsiteX34" fmla="*/ 3603825 w 4797505"/>
                <a:gd name="connsiteY34" fmla="*/ 646754 h 1771805"/>
                <a:gd name="connsiteX35" fmla="*/ 3582018 w 4797505"/>
                <a:gd name="connsiteY35" fmla="*/ 654931 h 1771805"/>
                <a:gd name="connsiteX36" fmla="*/ 3570433 w 4797505"/>
                <a:gd name="connsiteY36" fmla="*/ 674694 h 1771805"/>
                <a:gd name="connsiteX37" fmla="*/ 3504331 w 4797505"/>
                <a:gd name="connsiteY37" fmla="*/ 1030418 h 1771805"/>
                <a:gd name="connsiteX38" fmla="*/ 3404837 w 4797505"/>
                <a:gd name="connsiteY38" fmla="*/ 1030418 h 1771805"/>
                <a:gd name="connsiteX39" fmla="*/ 3272633 w 4797505"/>
                <a:gd name="connsiteY39" fmla="*/ 319651 h 1771805"/>
                <a:gd name="connsiteX40" fmla="*/ 3261048 w 4797505"/>
                <a:gd name="connsiteY40" fmla="*/ 298526 h 1771805"/>
                <a:gd name="connsiteX41" fmla="*/ 3238560 w 4797505"/>
                <a:gd name="connsiteY41" fmla="*/ 290348 h 1771805"/>
                <a:gd name="connsiteX42" fmla="*/ 3216072 w 4797505"/>
                <a:gd name="connsiteY42" fmla="*/ 298526 h 1771805"/>
                <a:gd name="connsiteX43" fmla="*/ 3204487 w 4797505"/>
                <a:gd name="connsiteY43" fmla="*/ 319651 h 1771805"/>
                <a:gd name="connsiteX44" fmla="*/ 3060016 w 4797505"/>
                <a:gd name="connsiteY44" fmla="*/ 1199421 h 1771805"/>
                <a:gd name="connsiteX45" fmla="*/ 3046387 w 4797505"/>
                <a:gd name="connsiteY45" fmla="*/ 1041321 h 1771805"/>
                <a:gd name="connsiteX46" fmla="*/ 3035484 w 4797505"/>
                <a:gd name="connsiteY46" fmla="*/ 1018833 h 1771805"/>
                <a:gd name="connsiteX47" fmla="*/ 3012314 w 4797505"/>
                <a:gd name="connsiteY47" fmla="*/ 1009293 h 1771805"/>
                <a:gd name="connsiteX48" fmla="*/ 2970745 w 4797505"/>
                <a:gd name="connsiteY48" fmla="*/ 1009293 h 1771805"/>
                <a:gd name="connsiteX49" fmla="*/ 2970745 w 4797505"/>
                <a:gd name="connsiteY49" fmla="*/ 1008611 h 1771805"/>
                <a:gd name="connsiteX50" fmla="*/ 2938716 w 4797505"/>
                <a:gd name="connsiteY50" fmla="*/ 1008611 h 1771805"/>
                <a:gd name="connsiteX51" fmla="*/ 2909413 w 4797505"/>
                <a:gd name="connsiteY51" fmla="*/ 1008611 h 1771805"/>
                <a:gd name="connsiteX52" fmla="*/ 1420414 w 4797505"/>
                <a:gd name="connsiteY52" fmla="*/ 1008611 h 1771805"/>
                <a:gd name="connsiteX53" fmla="*/ 1399289 w 4797505"/>
                <a:gd name="connsiteY53" fmla="*/ 1008611 h 1771805"/>
                <a:gd name="connsiteX54" fmla="*/ 1380889 w 4797505"/>
                <a:gd name="connsiteY54" fmla="*/ 1008611 h 1771805"/>
                <a:gd name="connsiteX55" fmla="*/ 1358401 w 4797505"/>
                <a:gd name="connsiteY55" fmla="*/ 1016789 h 1771805"/>
                <a:gd name="connsiteX56" fmla="*/ 1346816 w 4797505"/>
                <a:gd name="connsiteY56" fmla="*/ 1037914 h 1771805"/>
                <a:gd name="connsiteX57" fmla="*/ 1250048 w 4797505"/>
                <a:gd name="connsiteY57" fmla="*/ 1495176 h 1771805"/>
                <a:gd name="connsiteX58" fmla="*/ 1083771 w 4797505"/>
                <a:gd name="connsiteY58" fmla="*/ 567023 h 1771805"/>
                <a:gd name="connsiteX59" fmla="*/ 1072186 w 4797505"/>
                <a:gd name="connsiteY59" fmla="*/ 545897 h 1771805"/>
                <a:gd name="connsiteX60" fmla="*/ 1049698 w 4797505"/>
                <a:gd name="connsiteY60" fmla="*/ 537720 h 1771805"/>
                <a:gd name="connsiteX61" fmla="*/ 1049016 w 4797505"/>
                <a:gd name="connsiteY61" fmla="*/ 537720 h 1771805"/>
                <a:gd name="connsiteX62" fmla="*/ 1048335 w 4797505"/>
                <a:gd name="connsiteY62" fmla="*/ 537720 h 1771805"/>
                <a:gd name="connsiteX63" fmla="*/ 1025847 w 4797505"/>
                <a:gd name="connsiteY63" fmla="*/ 547260 h 1771805"/>
                <a:gd name="connsiteX64" fmla="*/ 1014943 w 4797505"/>
                <a:gd name="connsiteY64" fmla="*/ 569748 h 1771805"/>
                <a:gd name="connsiteX65" fmla="*/ 978144 w 4797505"/>
                <a:gd name="connsiteY65" fmla="*/ 1009293 h 1771805"/>
                <a:gd name="connsiteX66" fmla="*/ 899094 w 4797505"/>
                <a:gd name="connsiteY66" fmla="*/ 1009293 h 1771805"/>
                <a:gd name="connsiteX67" fmla="*/ 876606 w 4797505"/>
                <a:gd name="connsiteY67" fmla="*/ 1017470 h 1771805"/>
                <a:gd name="connsiteX68" fmla="*/ 865021 w 4797505"/>
                <a:gd name="connsiteY68" fmla="*/ 1038595 h 1771805"/>
                <a:gd name="connsiteX69" fmla="*/ 805052 w 4797505"/>
                <a:gd name="connsiteY69" fmla="*/ 1289374 h 1771805"/>
                <a:gd name="connsiteX70" fmla="*/ 775068 w 4797505"/>
                <a:gd name="connsiteY70" fmla="*/ 1052906 h 1771805"/>
                <a:gd name="connsiteX71" fmla="*/ 762801 w 4797505"/>
                <a:gd name="connsiteY71" fmla="*/ 1033144 h 1771805"/>
                <a:gd name="connsiteX72" fmla="*/ 740995 w 4797505"/>
                <a:gd name="connsiteY72" fmla="*/ 1025648 h 1771805"/>
                <a:gd name="connsiteX73" fmla="*/ 3651 w 4797505"/>
                <a:gd name="connsiteY73" fmla="*/ 1025648 h 1771805"/>
                <a:gd name="connsiteX74" fmla="*/ 3651 w 4797505"/>
                <a:gd name="connsiteY74" fmla="*/ 1095157 h 1771805"/>
                <a:gd name="connsiteX75" fmla="*/ 713055 w 4797505"/>
                <a:gd name="connsiteY75" fmla="*/ 1095157 h 1771805"/>
                <a:gd name="connsiteX76" fmla="*/ 775749 w 4797505"/>
                <a:gd name="connsiteY76" fmla="*/ 1486999 h 1771805"/>
                <a:gd name="connsiteX77" fmla="*/ 788016 w 4797505"/>
                <a:gd name="connsiteY77" fmla="*/ 1506761 h 1771805"/>
                <a:gd name="connsiteX78" fmla="*/ 810504 w 4797505"/>
                <a:gd name="connsiteY78" fmla="*/ 1514257 h 1771805"/>
                <a:gd name="connsiteX79" fmla="*/ 810504 w 4797505"/>
                <a:gd name="connsiteY79" fmla="*/ 1514257 h 1771805"/>
                <a:gd name="connsiteX80" fmla="*/ 832311 w 4797505"/>
                <a:gd name="connsiteY80" fmla="*/ 1506080 h 1771805"/>
                <a:gd name="connsiteX81" fmla="*/ 843896 w 4797505"/>
                <a:gd name="connsiteY81" fmla="*/ 1485636 h 1771805"/>
                <a:gd name="connsiteX82" fmla="*/ 929079 w 4797505"/>
                <a:gd name="connsiteY82" fmla="*/ 1080165 h 1771805"/>
                <a:gd name="connsiteX83" fmla="*/ 1010173 w 4797505"/>
                <a:gd name="connsiteY83" fmla="*/ 1080165 h 1771805"/>
                <a:gd name="connsiteX84" fmla="*/ 1033343 w 4797505"/>
                <a:gd name="connsiteY84" fmla="*/ 1071306 h 1771805"/>
                <a:gd name="connsiteX85" fmla="*/ 1044246 w 4797505"/>
                <a:gd name="connsiteY85" fmla="*/ 1048817 h 1771805"/>
                <a:gd name="connsiteX86" fmla="*/ 1057875 w 4797505"/>
                <a:gd name="connsiteY86" fmla="*/ 890036 h 1771805"/>
                <a:gd name="connsiteX87" fmla="*/ 1216656 w 4797505"/>
                <a:gd name="connsiteY87" fmla="*/ 1740503 h 1771805"/>
                <a:gd name="connsiteX88" fmla="*/ 1228241 w 4797505"/>
                <a:gd name="connsiteY88" fmla="*/ 1761629 h 1771805"/>
                <a:gd name="connsiteX89" fmla="*/ 1250730 w 4797505"/>
                <a:gd name="connsiteY89" fmla="*/ 1769806 h 1771805"/>
                <a:gd name="connsiteX90" fmla="*/ 1273218 w 4797505"/>
                <a:gd name="connsiteY90" fmla="*/ 1760947 h 1771805"/>
                <a:gd name="connsiteX91" fmla="*/ 1284803 w 4797505"/>
                <a:gd name="connsiteY91" fmla="*/ 1739822 h 1771805"/>
                <a:gd name="connsiteX92" fmla="*/ 1410192 w 4797505"/>
                <a:gd name="connsiteY92" fmla="*/ 1078802 h 1771805"/>
                <a:gd name="connsiteX93" fmla="*/ 2907369 w 4797505"/>
                <a:gd name="connsiteY93" fmla="*/ 1078802 h 1771805"/>
                <a:gd name="connsiteX94" fmla="*/ 2936671 w 4797505"/>
                <a:gd name="connsiteY94" fmla="*/ 1078802 h 1771805"/>
                <a:gd name="connsiteX95" fmla="*/ 2968700 w 4797505"/>
                <a:gd name="connsiteY95" fmla="*/ 1078802 h 1771805"/>
                <a:gd name="connsiteX96" fmla="*/ 2968700 w 4797505"/>
                <a:gd name="connsiteY96" fmla="*/ 1078120 h 1771805"/>
                <a:gd name="connsiteX97" fmla="*/ 2978922 w 4797505"/>
                <a:gd name="connsiteY97" fmla="*/ 1078120 h 1771805"/>
                <a:gd name="connsiteX98" fmla="*/ 3015721 w 4797505"/>
                <a:gd name="connsiteY98" fmla="*/ 1497221 h 1771805"/>
                <a:gd name="connsiteX99" fmla="*/ 3026625 w 4797505"/>
                <a:gd name="connsiteY99" fmla="*/ 1519027 h 1771805"/>
                <a:gd name="connsiteX100" fmla="*/ 3049113 w 4797505"/>
                <a:gd name="connsiteY100" fmla="*/ 1528568 h 1771805"/>
                <a:gd name="connsiteX101" fmla="*/ 3049794 w 4797505"/>
                <a:gd name="connsiteY101" fmla="*/ 1528568 h 1771805"/>
                <a:gd name="connsiteX102" fmla="*/ 3050476 w 4797505"/>
                <a:gd name="connsiteY102" fmla="*/ 1528568 h 1771805"/>
                <a:gd name="connsiteX103" fmla="*/ 3072964 w 4797505"/>
                <a:gd name="connsiteY103" fmla="*/ 1520390 h 1771805"/>
                <a:gd name="connsiteX104" fmla="*/ 3084549 w 4797505"/>
                <a:gd name="connsiteY104" fmla="*/ 1499265 h 1771805"/>
                <a:gd name="connsiteX105" fmla="*/ 3237197 w 4797505"/>
                <a:gd name="connsiteY105" fmla="*/ 563615 h 1771805"/>
                <a:gd name="connsiteX106" fmla="*/ 3340098 w 4797505"/>
                <a:gd name="connsiteY106" fmla="*/ 1068580 h 1771805"/>
                <a:gd name="connsiteX107" fmla="*/ 3340098 w 4797505"/>
                <a:gd name="connsiteY107" fmla="*/ 1068580 h 1771805"/>
                <a:gd name="connsiteX108" fmla="*/ 3351683 w 4797505"/>
                <a:gd name="connsiteY108" fmla="*/ 1089705 h 1771805"/>
                <a:gd name="connsiteX109" fmla="*/ 3374171 w 4797505"/>
                <a:gd name="connsiteY109" fmla="*/ 1098564 h 1771805"/>
                <a:gd name="connsiteX110" fmla="*/ 3533634 w 4797505"/>
                <a:gd name="connsiteY110" fmla="*/ 1098564 h 1771805"/>
                <a:gd name="connsiteX111" fmla="*/ 3555441 w 4797505"/>
                <a:gd name="connsiteY111" fmla="*/ 1090387 h 1771805"/>
                <a:gd name="connsiteX112" fmla="*/ 3567026 w 4797505"/>
                <a:gd name="connsiteY112" fmla="*/ 1069943 h 1771805"/>
                <a:gd name="connsiteX113" fmla="*/ 3607232 w 4797505"/>
                <a:gd name="connsiteY113" fmla="*/ 842334 h 1771805"/>
                <a:gd name="connsiteX114" fmla="*/ 3656979 w 4797505"/>
                <a:gd name="connsiteY114" fmla="*/ 1071987 h 1771805"/>
                <a:gd name="connsiteX115" fmla="*/ 3669245 w 4797505"/>
                <a:gd name="connsiteY115" fmla="*/ 1091068 h 1771805"/>
                <a:gd name="connsiteX116" fmla="*/ 3690371 w 4797505"/>
                <a:gd name="connsiteY116" fmla="*/ 1098564 h 1771805"/>
                <a:gd name="connsiteX117" fmla="*/ 4326858 w 4797505"/>
                <a:gd name="connsiteY117" fmla="*/ 1098564 h 1771805"/>
                <a:gd name="connsiteX118" fmla="*/ 4368427 w 4797505"/>
                <a:gd name="connsiteY118" fmla="*/ 1098564 h 1771805"/>
                <a:gd name="connsiteX119" fmla="*/ 4459744 w 4797505"/>
                <a:gd name="connsiteY119" fmla="*/ 1015426 h 1771805"/>
                <a:gd name="connsiteX120" fmla="*/ 4459744 w 4797505"/>
                <a:gd name="connsiteY120" fmla="*/ 659020 h 1771805"/>
                <a:gd name="connsiteX121" fmla="*/ 4665545 w 4797505"/>
                <a:gd name="connsiteY121" fmla="*/ 552030 h 1771805"/>
                <a:gd name="connsiteX122" fmla="*/ 4673042 w 4797505"/>
                <a:gd name="connsiteY122" fmla="*/ 522046 h 1771805"/>
                <a:gd name="connsiteX123" fmla="*/ 4794342 w 4797505"/>
                <a:gd name="connsiteY123" fmla="*/ 184721 h 17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797505" h="1771805">
                  <a:moveTo>
                    <a:pt x="4794342" y="184721"/>
                  </a:moveTo>
                  <a:cubicBezTo>
                    <a:pt x="4799112" y="137019"/>
                    <a:pt x="4787527" y="98176"/>
                    <a:pt x="4759588" y="70236"/>
                  </a:cubicBezTo>
                  <a:cubicBezTo>
                    <a:pt x="4733692" y="43658"/>
                    <a:pt x="4698256" y="32074"/>
                    <a:pt x="4668953" y="27303"/>
                  </a:cubicBezTo>
                  <a:cubicBezTo>
                    <a:pt x="4659412" y="16400"/>
                    <a:pt x="4643739" y="8222"/>
                    <a:pt x="4624657" y="6178"/>
                  </a:cubicBezTo>
                  <a:cubicBezTo>
                    <a:pt x="4593310" y="2771"/>
                    <a:pt x="4566052" y="18444"/>
                    <a:pt x="4564007" y="39570"/>
                  </a:cubicBezTo>
                  <a:cubicBezTo>
                    <a:pt x="4561963" y="61377"/>
                    <a:pt x="4585814" y="81820"/>
                    <a:pt x="4616480" y="84546"/>
                  </a:cubicBezTo>
                  <a:cubicBezTo>
                    <a:pt x="4636242" y="86591"/>
                    <a:pt x="4653961" y="81139"/>
                    <a:pt x="4665545" y="71598"/>
                  </a:cubicBezTo>
                  <a:cubicBezTo>
                    <a:pt x="4686671" y="75687"/>
                    <a:pt x="4711203" y="83865"/>
                    <a:pt x="4727559" y="101583"/>
                  </a:cubicBezTo>
                  <a:cubicBezTo>
                    <a:pt x="4745958" y="119982"/>
                    <a:pt x="4753454" y="145878"/>
                    <a:pt x="4750047" y="180633"/>
                  </a:cubicBezTo>
                  <a:cubicBezTo>
                    <a:pt x="4742551" y="254912"/>
                    <a:pt x="4715974" y="366672"/>
                    <a:pt x="4663501" y="456625"/>
                  </a:cubicBezTo>
                  <a:cubicBezTo>
                    <a:pt x="4655323" y="470255"/>
                    <a:pt x="4647146" y="483203"/>
                    <a:pt x="4638968" y="494787"/>
                  </a:cubicBezTo>
                  <a:cubicBezTo>
                    <a:pt x="4629428" y="494787"/>
                    <a:pt x="4619888" y="499558"/>
                    <a:pt x="4613073" y="507054"/>
                  </a:cubicBezTo>
                  <a:cubicBezTo>
                    <a:pt x="4561963" y="567023"/>
                    <a:pt x="4499268" y="593600"/>
                    <a:pt x="4430440" y="593600"/>
                  </a:cubicBezTo>
                  <a:cubicBezTo>
                    <a:pt x="4365020" y="591555"/>
                    <a:pt x="4306414" y="562252"/>
                    <a:pt x="4257349" y="504328"/>
                  </a:cubicBezTo>
                  <a:cubicBezTo>
                    <a:pt x="4250534" y="496150"/>
                    <a:pt x="4240993" y="492062"/>
                    <a:pt x="4231453" y="492062"/>
                  </a:cubicBezTo>
                  <a:cubicBezTo>
                    <a:pt x="4223275" y="480477"/>
                    <a:pt x="4214417" y="467529"/>
                    <a:pt x="4206920" y="453900"/>
                  </a:cubicBezTo>
                  <a:cubicBezTo>
                    <a:pt x="4153766" y="363946"/>
                    <a:pt x="4126507" y="252186"/>
                    <a:pt x="4119011" y="178588"/>
                  </a:cubicBezTo>
                  <a:cubicBezTo>
                    <a:pt x="4115604" y="143834"/>
                    <a:pt x="4122419" y="117938"/>
                    <a:pt x="4140818" y="99538"/>
                  </a:cubicBezTo>
                  <a:cubicBezTo>
                    <a:pt x="4157855" y="81820"/>
                    <a:pt x="4181706" y="73643"/>
                    <a:pt x="4203513" y="69554"/>
                  </a:cubicBezTo>
                  <a:cubicBezTo>
                    <a:pt x="4214417" y="79095"/>
                    <a:pt x="4232816" y="84546"/>
                    <a:pt x="4252578" y="82502"/>
                  </a:cubicBezTo>
                  <a:cubicBezTo>
                    <a:pt x="4283926" y="79095"/>
                    <a:pt x="4307777" y="59332"/>
                    <a:pt x="4305051" y="37525"/>
                  </a:cubicBezTo>
                  <a:cubicBezTo>
                    <a:pt x="4303007" y="15718"/>
                    <a:pt x="4275748" y="726"/>
                    <a:pt x="4244401" y="4134"/>
                  </a:cubicBezTo>
                  <a:cubicBezTo>
                    <a:pt x="4225320" y="6178"/>
                    <a:pt x="4208964" y="14356"/>
                    <a:pt x="4199424" y="25259"/>
                  </a:cubicBezTo>
                  <a:cubicBezTo>
                    <a:pt x="4170121" y="30029"/>
                    <a:pt x="4135366" y="42296"/>
                    <a:pt x="4109471" y="68191"/>
                  </a:cubicBezTo>
                  <a:cubicBezTo>
                    <a:pt x="4081531" y="96131"/>
                    <a:pt x="4069946" y="134975"/>
                    <a:pt x="4075398" y="183359"/>
                  </a:cubicBezTo>
                  <a:cubicBezTo>
                    <a:pt x="4083575" y="262408"/>
                    <a:pt x="4118330" y="413012"/>
                    <a:pt x="4196698" y="520002"/>
                  </a:cubicBezTo>
                  <a:cubicBezTo>
                    <a:pt x="4194654" y="530224"/>
                    <a:pt x="4197380" y="541127"/>
                    <a:pt x="4204195" y="549986"/>
                  </a:cubicBezTo>
                  <a:cubicBezTo>
                    <a:pt x="4258712" y="614044"/>
                    <a:pt x="4319362" y="647435"/>
                    <a:pt x="4391597" y="660383"/>
                  </a:cubicBezTo>
                  <a:lnTo>
                    <a:pt x="4391597" y="928880"/>
                  </a:lnTo>
                  <a:cubicBezTo>
                    <a:pt x="4392960" y="972494"/>
                    <a:pt x="4385464" y="1027011"/>
                    <a:pt x="4318680" y="1031099"/>
                  </a:cubicBezTo>
                  <a:lnTo>
                    <a:pt x="3718992" y="1031099"/>
                  </a:lnTo>
                  <a:lnTo>
                    <a:pt x="3638579" y="673331"/>
                  </a:lnTo>
                  <a:cubicBezTo>
                    <a:pt x="3636535" y="665153"/>
                    <a:pt x="3632446" y="659020"/>
                    <a:pt x="3626313" y="654250"/>
                  </a:cubicBezTo>
                  <a:cubicBezTo>
                    <a:pt x="3620861" y="649480"/>
                    <a:pt x="3613365" y="647435"/>
                    <a:pt x="3604506" y="646754"/>
                  </a:cubicBezTo>
                  <a:lnTo>
                    <a:pt x="3603825" y="646754"/>
                  </a:lnTo>
                  <a:cubicBezTo>
                    <a:pt x="3595647" y="646754"/>
                    <a:pt x="3588151" y="649480"/>
                    <a:pt x="3582018" y="654931"/>
                  </a:cubicBezTo>
                  <a:cubicBezTo>
                    <a:pt x="3576566" y="659702"/>
                    <a:pt x="3571796" y="666516"/>
                    <a:pt x="3570433" y="674694"/>
                  </a:cubicBezTo>
                  <a:lnTo>
                    <a:pt x="3504331" y="1030418"/>
                  </a:lnTo>
                  <a:lnTo>
                    <a:pt x="3404837" y="1030418"/>
                  </a:lnTo>
                  <a:lnTo>
                    <a:pt x="3272633" y="319651"/>
                  </a:lnTo>
                  <a:cubicBezTo>
                    <a:pt x="3271270" y="311474"/>
                    <a:pt x="3267182" y="303978"/>
                    <a:pt x="3261048" y="298526"/>
                  </a:cubicBezTo>
                  <a:cubicBezTo>
                    <a:pt x="3254915" y="293074"/>
                    <a:pt x="3246738" y="290348"/>
                    <a:pt x="3238560" y="290348"/>
                  </a:cubicBezTo>
                  <a:cubicBezTo>
                    <a:pt x="3230382" y="290348"/>
                    <a:pt x="3222205" y="293756"/>
                    <a:pt x="3216072" y="298526"/>
                  </a:cubicBezTo>
                  <a:cubicBezTo>
                    <a:pt x="3209938" y="303978"/>
                    <a:pt x="3205850" y="311474"/>
                    <a:pt x="3204487" y="319651"/>
                  </a:cubicBezTo>
                  <a:lnTo>
                    <a:pt x="3060016" y="1199421"/>
                  </a:lnTo>
                  <a:lnTo>
                    <a:pt x="3046387" y="1041321"/>
                  </a:lnTo>
                  <a:cubicBezTo>
                    <a:pt x="3045706" y="1032462"/>
                    <a:pt x="3041617" y="1024285"/>
                    <a:pt x="3035484" y="1018833"/>
                  </a:cubicBezTo>
                  <a:cubicBezTo>
                    <a:pt x="3029351" y="1013381"/>
                    <a:pt x="3021173" y="1009293"/>
                    <a:pt x="3012314" y="1009293"/>
                  </a:cubicBezTo>
                  <a:lnTo>
                    <a:pt x="2970745" y="1009293"/>
                  </a:lnTo>
                  <a:lnTo>
                    <a:pt x="2970745" y="1008611"/>
                  </a:lnTo>
                  <a:lnTo>
                    <a:pt x="2938716" y="1008611"/>
                  </a:lnTo>
                  <a:lnTo>
                    <a:pt x="2909413" y="1008611"/>
                  </a:lnTo>
                  <a:lnTo>
                    <a:pt x="1420414" y="1008611"/>
                  </a:lnTo>
                  <a:lnTo>
                    <a:pt x="1399289" y="1008611"/>
                  </a:lnTo>
                  <a:lnTo>
                    <a:pt x="1380889" y="1008611"/>
                  </a:lnTo>
                  <a:cubicBezTo>
                    <a:pt x="1372030" y="1008611"/>
                    <a:pt x="1363853" y="1012018"/>
                    <a:pt x="1358401" y="1016789"/>
                  </a:cubicBezTo>
                  <a:cubicBezTo>
                    <a:pt x="1352268" y="1022240"/>
                    <a:pt x="1347498" y="1029736"/>
                    <a:pt x="1346816" y="1037914"/>
                  </a:cubicBezTo>
                  <a:lnTo>
                    <a:pt x="1250048" y="1495176"/>
                  </a:lnTo>
                  <a:lnTo>
                    <a:pt x="1083771" y="567023"/>
                  </a:lnTo>
                  <a:cubicBezTo>
                    <a:pt x="1082408" y="558845"/>
                    <a:pt x="1078319" y="551349"/>
                    <a:pt x="1072186" y="545897"/>
                  </a:cubicBezTo>
                  <a:cubicBezTo>
                    <a:pt x="1066053" y="540446"/>
                    <a:pt x="1058557" y="537720"/>
                    <a:pt x="1049698" y="537720"/>
                  </a:cubicBezTo>
                  <a:lnTo>
                    <a:pt x="1049016" y="537720"/>
                  </a:lnTo>
                  <a:lnTo>
                    <a:pt x="1048335" y="537720"/>
                  </a:lnTo>
                  <a:cubicBezTo>
                    <a:pt x="1040157" y="537720"/>
                    <a:pt x="1031980" y="541808"/>
                    <a:pt x="1025847" y="547260"/>
                  </a:cubicBezTo>
                  <a:cubicBezTo>
                    <a:pt x="1019713" y="552712"/>
                    <a:pt x="1015625" y="560889"/>
                    <a:pt x="1014943" y="569748"/>
                  </a:cubicBezTo>
                  <a:lnTo>
                    <a:pt x="978144" y="1009293"/>
                  </a:lnTo>
                  <a:lnTo>
                    <a:pt x="899094" y="1009293"/>
                  </a:lnTo>
                  <a:cubicBezTo>
                    <a:pt x="890235" y="1009293"/>
                    <a:pt x="882739" y="1012700"/>
                    <a:pt x="876606" y="1017470"/>
                  </a:cubicBezTo>
                  <a:cubicBezTo>
                    <a:pt x="870473" y="1022922"/>
                    <a:pt x="866384" y="1029736"/>
                    <a:pt x="865021" y="1038595"/>
                  </a:cubicBezTo>
                  <a:lnTo>
                    <a:pt x="805052" y="1289374"/>
                  </a:lnTo>
                  <a:lnTo>
                    <a:pt x="775068" y="1052906"/>
                  </a:lnTo>
                  <a:cubicBezTo>
                    <a:pt x="773705" y="1044729"/>
                    <a:pt x="768935" y="1037914"/>
                    <a:pt x="762801" y="1033144"/>
                  </a:cubicBezTo>
                  <a:cubicBezTo>
                    <a:pt x="756668" y="1028374"/>
                    <a:pt x="749172" y="1025648"/>
                    <a:pt x="740995" y="1025648"/>
                  </a:cubicBezTo>
                  <a:lnTo>
                    <a:pt x="3651" y="1025648"/>
                  </a:lnTo>
                  <a:lnTo>
                    <a:pt x="3651" y="1095157"/>
                  </a:lnTo>
                  <a:lnTo>
                    <a:pt x="713055" y="1095157"/>
                  </a:lnTo>
                  <a:lnTo>
                    <a:pt x="775749" y="1486999"/>
                  </a:lnTo>
                  <a:cubicBezTo>
                    <a:pt x="777794" y="1495176"/>
                    <a:pt x="781882" y="1501991"/>
                    <a:pt x="788016" y="1506761"/>
                  </a:cubicBezTo>
                  <a:cubicBezTo>
                    <a:pt x="794149" y="1511531"/>
                    <a:pt x="802326" y="1514257"/>
                    <a:pt x="810504" y="1514257"/>
                  </a:cubicBezTo>
                  <a:lnTo>
                    <a:pt x="810504" y="1514257"/>
                  </a:lnTo>
                  <a:cubicBezTo>
                    <a:pt x="818682" y="1514257"/>
                    <a:pt x="826178" y="1510850"/>
                    <a:pt x="832311" y="1506080"/>
                  </a:cubicBezTo>
                  <a:cubicBezTo>
                    <a:pt x="838444" y="1500628"/>
                    <a:pt x="842533" y="1493813"/>
                    <a:pt x="843896" y="1485636"/>
                  </a:cubicBezTo>
                  <a:lnTo>
                    <a:pt x="929079" y="1080165"/>
                  </a:lnTo>
                  <a:lnTo>
                    <a:pt x="1010173" y="1080165"/>
                  </a:lnTo>
                  <a:cubicBezTo>
                    <a:pt x="1019032" y="1080165"/>
                    <a:pt x="1027209" y="1076758"/>
                    <a:pt x="1033343" y="1071306"/>
                  </a:cubicBezTo>
                  <a:cubicBezTo>
                    <a:pt x="1039476" y="1065854"/>
                    <a:pt x="1043565" y="1057677"/>
                    <a:pt x="1044246" y="1048817"/>
                  </a:cubicBezTo>
                  <a:lnTo>
                    <a:pt x="1057875" y="890036"/>
                  </a:lnTo>
                  <a:lnTo>
                    <a:pt x="1216656" y="1740503"/>
                  </a:lnTo>
                  <a:cubicBezTo>
                    <a:pt x="1218019" y="1748681"/>
                    <a:pt x="1222108" y="1756177"/>
                    <a:pt x="1228241" y="1761629"/>
                  </a:cubicBezTo>
                  <a:cubicBezTo>
                    <a:pt x="1234375" y="1767080"/>
                    <a:pt x="1241871" y="1769806"/>
                    <a:pt x="1250730" y="1769806"/>
                  </a:cubicBezTo>
                  <a:cubicBezTo>
                    <a:pt x="1259589" y="1769806"/>
                    <a:pt x="1267085" y="1766399"/>
                    <a:pt x="1273218" y="1760947"/>
                  </a:cubicBezTo>
                  <a:cubicBezTo>
                    <a:pt x="1279351" y="1755495"/>
                    <a:pt x="1283440" y="1747999"/>
                    <a:pt x="1284803" y="1739822"/>
                  </a:cubicBezTo>
                  <a:lnTo>
                    <a:pt x="1410192" y="1078802"/>
                  </a:lnTo>
                  <a:lnTo>
                    <a:pt x="2907369" y="1078802"/>
                  </a:lnTo>
                  <a:lnTo>
                    <a:pt x="2936671" y="1078802"/>
                  </a:lnTo>
                  <a:lnTo>
                    <a:pt x="2968700" y="1078802"/>
                  </a:lnTo>
                  <a:lnTo>
                    <a:pt x="2968700" y="1078120"/>
                  </a:lnTo>
                  <a:lnTo>
                    <a:pt x="2978922" y="1078120"/>
                  </a:lnTo>
                  <a:lnTo>
                    <a:pt x="3015721" y="1497221"/>
                  </a:lnTo>
                  <a:cubicBezTo>
                    <a:pt x="3016403" y="1505398"/>
                    <a:pt x="3020492" y="1513576"/>
                    <a:pt x="3026625" y="1519027"/>
                  </a:cubicBezTo>
                  <a:cubicBezTo>
                    <a:pt x="3032758" y="1524479"/>
                    <a:pt x="3040254" y="1528568"/>
                    <a:pt x="3049113" y="1528568"/>
                  </a:cubicBezTo>
                  <a:lnTo>
                    <a:pt x="3049794" y="1528568"/>
                  </a:lnTo>
                  <a:lnTo>
                    <a:pt x="3050476" y="1528568"/>
                  </a:lnTo>
                  <a:cubicBezTo>
                    <a:pt x="3059335" y="1528568"/>
                    <a:pt x="3066831" y="1525161"/>
                    <a:pt x="3072964" y="1520390"/>
                  </a:cubicBezTo>
                  <a:cubicBezTo>
                    <a:pt x="3079097" y="1514939"/>
                    <a:pt x="3083186" y="1507443"/>
                    <a:pt x="3084549" y="1499265"/>
                  </a:cubicBezTo>
                  <a:lnTo>
                    <a:pt x="3237197" y="563615"/>
                  </a:lnTo>
                  <a:lnTo>
                    <a:pt x="3340098" y="1068580"/>
                  </a:lnTo>
                  <a:lnTo>
                    <a:pt x="3340098" y="1068580"/>
                  </a:lnTo>
                  <a:cubicBezTo>
                    <a:pt x="3341461" y="1076758"/>
                    <a:pt x="3345550" y="1084254"/>
                    <a:pt x="3351683" y="1089705"/>
                  </a:cubicBezTo>
                  <a:cubicBezTo>
                    <a:pt x="3357816" y="1095157"/>
                    <a:pt x="3365994" y="1098564"/>
                    <a:pt x="3374171" y="1098564"/>
                  </a:cubicBezTo>
                  <a:lnTo>
                    <a:pt x="3533634" y="1098564"/>
                  </a:lnTo>
                  <a:cubicBezTo>
                    <a:pt x="3541811" y="1098564"/>
                    <a:pt x="3549307" y="1095157"/>
                    <a:pt x="3555441" y="1090387"/>
                  </a:cubicBezTo>
                  <a:cubicBezTo>
                    <a:pt x="3561574" y="1085616"/>
                    <a:pt x="3565663" y="1078802"/>
                    <a:pt x="3567026" y="1069943"/>
                  </a:cubicBezTo>
                  <a:lnTo>
                    <a:pt x="3607232" y="842334"/>
                  </a:lnTo>
                  <a:lnTo>
                    <a:pt x="3656979" y="1071987"/>
                  </a:lnTo>
                  <a:cubicBezTo>
                    <a:pt x="3659023" y="1079483"/>
                    <a:pt x="3663112" y="1086298"/>
                    <a:pt x="3669245" y="1091068"/>
                  </a:cubicBezTo>
                  <a:cubicBezTo>
                    <a:pt x="3675378" y="1095838"/>
                    <a:pt x="3682875" y="1098564"/>
                    <a:pt x="3690371" y="1098564"/>
                  </a:cubicBezTo>
                  <a:cubicBezTo>
                    <a:pt x="3854603" y="1098564"/>
                    <a:pt x="4162625" y="1098564"/>
                    <a:pt x="4326858" y="1098564"/>
                  </a:cubicBezTo>
                  <a:cubicBezTo>
                    <a:pt x="4340487" y="1098564"/>
                    <a:pt x="4354798" y="1098564"/>
                    <a:pt x="4368427" y="1098564"/>
                  </a:cubicBezTo>
                  <a:cubicBezTo>
                    <a:pt x="4405226" y="1098564"/>
                    <a:pt x="4459744" y="1066536"/>
                    <a:pt x="4459744" y="1015426"/>
                  </a:cubicBezTo>
                  <a:lnTo>
                    <a:pt x="4459744" y="659020"/>
                  </a:lnTo>
                  <a:cubicBezTo>
                    <a:pt x="4532660" y="646072"/>
                    <a:pt x="4611710" y="615407"/>
                    <a:pt x="4665545" y="552030"/>
                  </a:cubicBezTo>
                  <a:cubicBezTo>
                    <a:pt x="4672360" y="543171"/>
                    <a:pt x="4675086" y="532268"/>
                    <a:pt x="4673042" y="522046"/>
                  </a:cubicBezTo>
                  <a:cubicBezTo>
                    <a:pt x="4752091" y="414375"/>
                    <a:pt x="4786846" y="264453"/>
                    <a:pt x="4794342" y="184721"/>
                  </a:cubicBezTo>
                  <a:close/>
                </a:path>
              </a:pathLst>
            </a:custGeom>
            <a:solidFill>
              <a:schemeClr val="accent1"/>
            </a:solidFill>
            <a:ln w="6804" cap="flat">
              <a:noFill/>
              <a:prstDash val="solid"/>
              <a:miter/>
            </a:ln>
          </p:spPr>
          <p:txBody>
            <a:bodyPr rtlCol="0" anchor="ctr"/>
            <a:lstStyle/>
            <a:p>
              <a:endParaRPr lang="en-US"/>
            </a:p>
          </p:txBody>
        </p:sp>
        <p:grpSp>
          <p:nvGrpSpPr>
            <p:cNvPr id="7" name="Group 6">
              <a:extLst>
                <a:ext uri="{FF2B5EF4-FFF2-40B4-BE49-F238E27FC236}">
                  <a16:creationId xmlns:a16="http://schemas.microsoft.com/office/drawing/2014/main" xmlns="" id="{C36593EB-5869-4A8C-80A1-C05AA0B24BF0}"/>
                </a:ext>
              </a:extLst>
            </p:cNvPr>
            <p:cNvGrpSpPr/>
            <p:nvPr/>
          </p:nvGrpSpPr>
          <p:grpSpPr>
            <a:xfrm>
              <a:off x="477110" y="5658084"/>
              <a:ext cx="655351" cy="517912"/>
              <a:chOff x="6456816" y="5667609"/>
              <a:chExt cx="655351" cy="517912"/>
            </a:xfrm>
          </p:grpSpPr>
          <p:sp>
            <p:nvSpPr>
              <p:cNvPr id="9" name="Freeform: Shape 8">
                <a:extLst>
                  <a:ext uri="{FF2B5EF4-FFF2-40B4-BE49-F238E27FC236}">
                    <a16:creationId xmlns:a16="http://schemas.microsoft.com/office/drawing/2014/main" xmlns="" id="{063A0A4C-2BF4-47D2-AFFF-A22E96B3C12D}"/>
                  </a:ext>
                </a:extLst>
              </p:cNvPr>
              <p:cNvSpPr/>
              <p:nvPr/>
            </p:nvSpPr>
            <p:spPr>
              <a:xfrm>
                <a:off x="6456816" y="5667609"/>
                <a:ext cx="517913" cy="517912"/>
              </a:xfrm>
              <a:custGeom>
                <a:avLst/>
                <a:gdLst>
                  <a:gd name="connsiteX0" fmla="*/ 460475 w 517912"/>
                  <a:gd name="connsiteY0" fmla="*/ 259443 h 517912"/>
                  <a:gd name="connsiteX1" fmla="*/ 259443 w 517912"/>
                  <a:gd name="connsiteY1" fmla="*/ 460475 h 517912"/>
                  <a:gd name="connsiteX2" fmla="*/ 58411 w 517912"/>
                  <a:gd name="connsiteY2" fmla="*/ 259443 h 517912"/>
                  <a:gd name="connsiteX3" fmla="*/ 259443 w 517912"/>
                  <a:gd name="connsiteY3" fmla="*/ 58411 h 517912"/>
                  <a:gd name="connsiteX4" fmla="*/ 460475 w 517912"/>
                  <a:gd name="connsiteY4" fmla="*/ 259443 h 51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12" h="517912">
                    <a:moveTo>
                      <a:pt x="460475" y="259443"/>
                    </a:moveTo>
                    <a:cubicBezTo>
                      <a:pt x="460475" y="370470"/>
                      <a:pt x="370470" y="460475"/>
                      <a:pt x="259443" y="460475"/>
                    </a:cubicBezTo>
                    <a:cubicBezTo>
                      <a:pt x="148416" y="460475"/>
                      <a:pt x="58411" y="370470"/>
                      <a:pt x="58411" y="259443"/>
                    </a:cubicBezTo>
                    <a:cubicBezTo>
                      <a:pt x="58411" y="148416"/>
                      <a:pt x="148416" y="58411"/>
                      <a:pt x="259443" y="58411"/>
                    </a:cubicBezTo>
                    <a:cubicBezTo>
                      <a:pt x="370470" y="58411"/>
                      <a:pt x="460475" y="148416"/>
                      <a:pt x="460475" y="259443"/>
                    </a:cubicBezTo>
                    <a:close/>
                  </a:path>
                </a:pathLst>
              </a:custGeom>
              <a:noFill/>
              <a:ln w="108857" cap="flat">
                <a:solidFill>
                  <a:schemeClr val="accent1"/>
                </a:solidFill>
                <a:prstDash val="solid"/>
                <a:miter/>
              </a:ln>
            </p:spPr>
            <p:txBody>
              <a:bodyPr rtlCol="0" anchor="ctr"/>
              <a:lstStyle/>
              <a:p>
                <a:endParaRPr lang="en-US"/>
              </a:p>
            </p:txBody>
          </p:sp>
          <p:sp>
            <p:nvSpPr>
              <p:cNvPr id="10" name="Rectangle: Rounded Corners 9">
                <a:extLst>
                  <a:ext uri="{FF2B5EF4-FFF2-40B4-BE49-F238E27FC236}">
                    <a16:creationId xmlns:a16="http://schemas.microsoft.com/office/drawing/2014/main" xmlns="" id="{C3DAC375-EEBC-4131-8F69-CD653EE61E82}"/>
                  </a:ext>
                </a:extLst>
              </p:cNvPr>
              <p:cNvSpPr/>
              <p:nvPr/>
            </p:nvSpPr>
            <p:spPr>
              <a:xfrm>
                <a:off x="6913640" y="5874290"/>
                <a:ext cx="198527" cy="12946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Rectangle 7">
              <a:extLst>
                <a:ext uri="{FF2B5EF4-FFF2-40B4-BE49-F238E27FC236}">
                  <a16:creationId xmlns:a16="http://schemas.microsoft.com/office/drawing/2014/main" xmlns="" id="{C9A4658B-18D9-47F9-8999-4B217D15FD5B}"/>
                </a:ext>
              </a:extLst>
            </p:cNvPr>
            <p:cNvSpPr/>
            <p:nvPr/>
          </p:nvSpPr>
          <p:spPr>
            <a:xfrm>
              <a:off x="995023" y="5898145"/>
              <a:ext cx="6479203" cy="653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xmlns="" id="{0959607F-C050-4355-908E-D24DD45D9D08}"/>
              </a:ext>
            </a:extLst>
          </p:cNvPr>
          <p:cNvGrpSpPr/>
          <p:nvPr userDrawn="1"/>
        </p:nvGrpSpPr>
        <p:grpSpPr>
          <a:xfrm rot="10800000" flipV="1">
            <a:off x="347501" y="5899288"/>
            <a:ext cx="5572126" cy="862288"/>
            <a:chOff x="477110" y="4905446"/>
            <a:chExt cx="11078677" cy="1714429"/>
          </a:xfrm>
        </p:grpSpPr>
        <p:sp>
          <p:nvSpPr>
            <p:cNvPr id="12" name="Freeform: Shape 11">
              <a:extLst>
                <a:ext uri="{FF2B5EF4-FFF2-40B4-BE49-F238E27FC236}">
                  <a16:creationId xmlns:a16="http://schemas.microsoft.com/office/drawing/2014/main" xmlns="" id="{0EA74116-9898-4A6A-84F3-F61BBB7993C6}"/>
                </a:ext>
              </a:extLst>
            </p:cNvPr>
            <p:cNvSpPr/>
            <p:nvPr/>
          </p:nvSpPr>
          <p:spPr>
            <a:xfrm>
              <a:off x="6913640" y="4905446"/>
              <a:ext cx="4642147" cy="1714429"/>
            </a:xfrm>
            <a:custGeom>
              <a:avLst/>
              <a:gdLst>
                <a:gd name="connsiteX0" fmla="*/ 4794342 w 4797505"/>
                <a:gd name="connsiteY0" fmla="*/ 184721 h 1771805"/>
                <a:gd name="connsiteX1" fmla="*/ 4759588 w 4797505"/>
                <a:gd name="connsiteY1" fmla="*/ 70236 h 1771805"/>
                <a:gd name="connsiteX2" fmla="*/ 4668953 w 4797505"/>
                <a:gd name="connsiteY2" fmla="*/ 27303 h 1771805"/>
                <a:gd name="connsiteX3" fmla="*/ 4624657 w 4797505"/>
                <a:gd name="connsiteY3" fmla="*/ 6178 h 1771805"/>
                <a:gd name="connsiteX4" fmla="*/ 4564007 w 4797505"/>
                <a:gd name="connsiteY4" fmla="*/ 39570 h 1771805"/>
                <a:gd name="connsiteX5" fmla="*/ 4616480 w 4797505"/>
                <a:gd name="connsiteY5" fmla="*/ 84546 h 1771805"/>
                <a:gd name="connsiteX6" fmla="*/ 4665545 w 4797505"/>
                <a:gd name="connsiteY6" fmla="*/ 71598 h 1771805"/>
                <a:gd name="connsiteX7" fmla="*/ 4727559 w 4797505"/>
                <a:gd name="connsiteY7" fmla="*/ 101583 h 1771805"/>
                <a:gd name="connsiteX8" fmla="*/ 4750047 w 4797505"/>
                <a:gd name="connsiteY8" fmla="*/ 180633 h 1771805"/>
                <a:gd name="connsiteX9" fmla="*/ 4663501 w 4797505"/>
                <a:gd name="connsiteY9" fmla="*/ 456625 h 1771805"/>
                <a:gd name="connsiteX10" fmla="*/ 4638968 w 4797505"/>
                <a:gd name="connsiteY10" fmla="*/ 494787 h 1771805"/>
                <a:gd name="connsiteX11" fmla="*/ 4613073 w 4797505"/>
                <a:gd name="connsiteY11" fmla="*/ 507054 h 1771805"/>
                <a:gd name="connsiteX12" fmla="*/ 4430440 w 4797505"/>
                <a:gd name="connsiteY12" fmla="*/ 593600 h 1771805"/>
                <a:gd name="connsiteX13" fmla="*/ 4257349 w 4797505"/>
                <a:gd name="connsiteY13" fmla="*/ 504328 h 1771805"/>
                <a:gd name="connsiteX14" fmla="*/ 4231453 w 4797505"/>
                <a:gd name="connsiteY14" fmla="*/ 492062 h 1771805"/>
                <a:gd name="connsiteX15" fmla="*/ 4206920 w 4797505"/>
                <a:gd name="connsiteY15" fmla="*/ 453900 h 1771805"/>
                <a:gd name="connsiteX16" fmla="*/ 4119011 w 4797505"/>
                <a:gd name="connsiteY16" fmla="*/ 178588 h 1771805"/>
                <a:gd name="connsiteX17" fmla="*/ 4140818 w 4797505"/>
                <a:gd name="connsiteY17" fmla="*/ 99538 h 1771805"/>
                <a:gd name="connsiteX18" fmla="*/ 4203513 w 4797505"/>
                <a:gd name="connsiteY18" fmla="*/ 69554 h 1771805"/>
                <a:gd name="connsiteX19" fmla="*/ 4252578 w 4797505"/>
                <a:gd name="connsiteY19" fmla="*/ 82502 h 1771805"/>
                <a:gd name="connsiteX20" fmla="*/ 4305051 w 4797505"/>
                <a:gd name="connsiteY20" fmla="*/ 37525 h 1771805"/>
                <a:gd name="connsiteX21" fmla="*/ 4244401 w 4797505"/>
                <a:gd name="connsiteY21" fmla="*/ 4134 h 1771805"/>
                <a:gd name="connsiteX22" fmla="*/ 4199424 w 4797505"/>
                <a:gd name="connsiteY22" fmla="*/ 25259 h 1771805"/>
                <a:gd name="connsiteX23" fmla="*/ 4109471 w 4797505"/>
                <a:gd name="connsiteY23" fmla="*/ 68191 h 1771805"/>
                <a:gd name="connsiteX24" fmla="*/ 4075398 w 4797505"/>
                <a:gd name="connsiteY24" fmla="*/ 183359 h 1771805"/>
                <a:gd name="connsiteX25" fmla="*/ 4196698 w 4797505"/>
                <a:gd name="connsiteY25" fmla="*/ 520002 h 1771805"/>
                <a:gd name="connsiteX26" fmla="*/ 4204195 w 4797505"/>
                <a:gd name="connsiteY26" fmla="*/ 549986 h 1771805"/>
                <a:gd name="connsiteX27" fmla="*/ 4391597 w 4797505"/>
                <a:gd name="connsiteY27" fmla="*/ 660383 h 1771805"/>
                <a:gd name="connsiteX28" fmla="*/ 4391597 w 4797505"/>
                <a:gd name="connsiteY28" fmla="*/ 928880 h 1771805"/>
                <a:gd name="connsiteX29" fmla="*/ 4318680 w 4797505"/>
                <a:gd name="connsiteY29" fmla="*/ 1031099 h 1771805"/>
                <a:gd name="connsiteX30" fmla="*/ 3718992 w 4797505"/>
                <a:gd name="connsiteY30" fmla="*/ 1031099 h 1771805"/>
                <a:gd name="connsiteX31" fmla="*/ 3638579 w 4797505"/>
                <a:gd name="connsiteY31" fmla="*/ 673331 h 1771805"/>
                <a:gd name="connsiteX32" fmla="*/ 3626313 w 4797505"/>
                <a:gd name="connsiteY32" fmla="*/ 654250 h 1771805"/>
                <a:gd name="connsiteX33" fmla="*/ 3604506 w 4797505"/>
                <a:gd name="connsiteY33" fmla="*/ 646754 h 1771805"/>
                <a:gd name="connsiteX34" fmla="*/ 3603825 w 4797505"/>
                <a:gd name="connsiteY34" fmla="*/ 646754 h 1771805"/>
                <a:gd name="connsiteX35" fmla="*/ 3582018 w 4797505"/>
                <a:gd name="connsiteY35" fmla="*/ 654931 h 1771805"/>
                <a:gd name="connsiteX36" fmla="*/ 3570433 w 4797505"/>
                <a:gd name="connsiteY36" fmla="*/ 674694 h 1771805"/>
                <a:gd name="connsiteX37" fmla="*/ 3504331 w 4797505"/>
                <a:gd name="connsiteY37" fmla="*/ 1030418 h 1771805"/>
                <a:gd name="connsiteX38" fmla="*/ 3404837 w 4797505"/>
                <a:gd name="connsiteY38" fmla="*/ 1030418 h 1771805"/>
                <a:gd name="connsiteX39" fmla="*/ 3272633 w 4797505"/>
                <a:gd name="connsiteY39" fmla="*/ 319651 h 1771805"/>
                <a:gd name="connsiteX40" fmla="*/ 3261048 w 4797505"/>
                <a:gd name="connsiteY40" fmla="*/ 298526 h 1771805"/>
                <a:gd name="connsiteX41" fmla="*/ 3238560 w 4797505"/>
                <a:gd name="connsiteY41" fmla="*/ 290348 h 1771805"/>
                <a:gd name="connsiteX42" fmla="*/ 3216072 w 4797505"/>
                <a:gd name="connsiteY42" fmla="*/ 298526 h 1771805"/>
                <a:gd name="connsiteX43" fmla="*/ 3204487 w 4797505"/>
                <a:gd name="connsiteY43" fmla="*/ 319651 h 1771805"/>
                <a:gd name="connsiteX44" fmla="*/ 3060016 w 4797505"/>
                <a:gd name="connsiteY44" fmla="*/ 1199421 h 1771805"/>
                <a:gd name="connsiteX45" fmla="*/ 3046387 w 4797505"/>
                <a:gd name="connsiteY45" fmla="*/ 1041321 h 1771805"/>
                <a:gd name="connsiteX46" fmla="*/ 3035484 w 4797505"/>
                <a:gd name="connsiteY46" fmla="*/ 1018833 h 1771805"/>
                <a:gd name="connsiteX47" fmla="*/ 3012314 w 4797505"/>
                <a:gd name="connsiteY47" fmla="*/ 1009293 h 1771805"/>
                <a:gd name="connsiteX48" fmla="*/ 2970745 w 4797505"/>
                <a:gd name="connsiteY48" fmla="*/ 1009293 h 1771805"/>
                <a:gd name="connsiteX49" fmla="*/ 2970745 w 4797505"/>
                <a:gd name="connsiteY49" fmla="*/ 1008611 h 1771805"/>
                <a:gd name="connsiteX50" fmla="*/ 2938716 w 4797505"/>
                <a:gd name="connsiteY50" fmla="*/ 1008611 h 1771805"/>
                <a:gd name="connsiteX51" fmla="*/ 2909413 w 4797505"/>
                <a:gd name="connsiteY51" fmla="*/ 1008611 h 1771805"/>
                <a:gd name="connsiteX52" fmla="*/ 1420414 w 4797505"/>
                <a:gd name="connsiteY52" fmla="*/ 1008611 h 1771805"/>
                <a:gd name="connsiteX53" fmla="*/ 1399289 w 4797505"/>
                <a:gd name="connsiteY53" fmla="*/ 1008611 h 1771805"/>
                <a:gd name="connsiteX54" fmla="*/ 1380889 w 4797505"/>
                <a:gd name="connsiteY54" fmla="*/ 1008611 h 1771805"/>
                <a:gd name="connsiteX55" fmla="*/ 1358401 w 4797505"/>
                <a:gd name="connsiteY55" fmla="*/ 1016789 h 1771805"/>
                <a:gd name="connsiteX56" fmla="*/ 1346816 w 4797505"/>
                <a:gd name="connsiteY56" fmla="*/ 1037914 h 1771805"/>
                <a:gd name="connsiteX57" fmla="*/ 1250048 w 4797505"/>
                <a:gd name="connsiteY57" fmla="*/ 1495176 h 1771805"/>
                <a:gd name="connsiteX58" fmla="*/ 1083771 w 4797505"/>
                <a:gd name="connsiteY58" fmla="*/ 567023 h 1771805"/>
                <a:gd name="connsiteX59" fmla="*/ 1072186 w 4797505"/>
                <a:gd name="connsiteY59" fmla="*/ 545897 h 1771805"/>
                <a:gd name="connsiteX60" fmla="*/ 1049698 w 4797505"/>
                <a:gd name="connsiteY60" fmla="*/ 537720 h 1771805"/>
                <a:gd name="connsiteX61" fmla="*/ 1049016 w 4797505"/>
                <a:gd name="connsiteY61" fmla="*/ 537720 h 1771805"/>
                <a:gd name="connsiteX62" fmla="*/ 1048335 w 4797505"/>
                <a:gd name="connsiteY62" fmla="*/ 537720 h 1771805"/>
                <a:gd name="connsiteX63" fmla="*/ 1025847 w 4797505"/>
                <a:gd name="connsiteY63" fmla="*/ 547260 h 1771805"/>
                <a:gd name="connsiteX64" fmla="*/ 1014943 w 4797505"/>
                <a:gd name="connsiteY64" fmla="*/ 569748 h 1771805"/>
                <a:gd name="connsiteX65" fmla="*/ 978144 w 4797505"/>
                <a:gd name="connsiteY65" fmla="*/ 1009293 h 1771805"/>
                <a:gd name="connsiteX66" fmla="*/ 899094 w 4797505"/>
                <a:gd name="connsiteY66" fmla="*/ 1009293 h 1771805"/>
                <a:gd name="connsiteX67" fmla="*/ 876606 w 4797505"/>
                <a:gd name="connsiteY67" fmla="*/ 1017470 h 1771805"/>
                <a:gd name="connsiteX68" fmla="*/ 865021 w 4797505"/>
                <a:gd name="connsiteY68" fmla="*/ 1038595 h 1771805"/>
                <a:gd name="connsiteX69" fmla="*/ 805052 w 4797505"/>
                <a:gd name="connsiteY69" fmla="*/ 1289374 h 1771805"/>
                <a:gd name="connsiteX70" fmla="*/ 775068 w 4797505"/>
                <a:gd name="connsiteY70" fmla="*/ 1052906 h 1771805"/>
                <a:gd name="connsiteX71" fmla="*/ 762801 w 4797505"/>
                <a:gd name="connsiteY71" fmla="*/ 1033144 h 1771805"/>
                <a:gd name="connsiteX72" fmla="*/ 740995 w 4797505"/>
                <a:gd name="connsiteY72" fmla="*/ 1025648 h 1771805"/>
                <a:gd name="connsiteX73" fmla="*/ 3651 w 4797505"/>
                <a:gd name="connsiteY73" fmla="*/ 1025648 h 1771805"/>
                <a:gd name="connsiteX74" fmla="*/ 3651 w 4797505"/>
                <a:gd name="connsiteY74" fmla="*/ 1095157 h 1771805"/>
                <a:gd name="connsiteX75" fmla="*/ 713055 w 4797505"/>
                <a:gd name="connsiteY75" fmla="*/ 1095157 h 1771805"/>
                <a:gd name="connsiteX76" fmla="*/ 775749 w 4797505"/>
                <a:gd name="connsiteY76" fmla="*/ 1486999 h 1771805"/>
                <a:gd name="connsiteX77" fmla="*/ 788016 w 4797505"/>
                <a:gd name="connsiteY77" fmla="*/ 1506761 h 1771805"/>
                <a:gd name="connsiteX78" fmla="*/ 810504 w 4797505"/>
                <a:gd name="connsiteY78" fmla="*/ 1514257 h 1771805"/>
                <a:gd name="connsiteX79" fmla="*/ 810504 w 4797505"/>
                <a:gd name="connsiteY79" fmla="*/ 1514257 h 1771805"/>
                <a:gd name="connsiteX80" fmla="*/ 832311 w 4797505"/>
                <a:gd name="connsiteY80" fmla="*/ 1506080 h 1771805"/>
                <a:gd name="connsiteX81" fmla="*/ 843896 w 4797505"/>
                <a:gd name="connsiteY81" fmla="*/ 1485636 h 1771805"/>
                <a:gd name="connsiteX82" fmla="*/ 929079 w 4797505"/>
                <a:gd name="connsiteY82" fmla="*/ 1080165 h 1771805"/>
                <a:gd name="connsiteX83" fmla="*/ 1010173 w 4797505"/>
                <a:gd name="connsiteY83" fmla="*/ 1080165 h 1771805"/>
                <a:gd name="connsiteX84" fmla="*/ 1033343 w 4797505"/>
                <a:gd name="connsiteY84" fmla="*/ 1071306 h 1771805"/>
                <a:gd name="connsiteX85" fmla="*/ 1044246 w 4797505"/>
                <a:gd name="connsiteY85" fmla="*/ 1048817 h 1771805"/>
                <a:gd name="connsiteX86" fmla="*/ 1057875 w 4797505"/>
                <a:gd name="connsiteY86" fmla="*/ 890036 h 1771805"/>
                <a:gd name="connsiteX87" fmla="*/ 1216656 w 4797505"/>
                <a:gd name="connsiteY87" fmla="*/ 1740503 h 1771805"/>
                <a:gd name="connsiteX88" fmla="*/ 1228241 w 4797505"/>
                <a:gd name="connsiteY88" fmla="*/ 1761629 h 1771805"/>
                <a:gd name="connsiteX89" fmla="*/ 1250730 w 4797505"/>
                <a:gd name="connsiteY89" fmla="*/ 1769806 h 1771805"/>
                <a:gd name="connsiteX90" fmla="*/ 1273218 w 4797505"/>
                <a:gd name="connsiteY90" fmla="*/ 1760947 h 1771805"/>
                <a:gd name="connsiteX91" fmla="*/ 1284803 w 4797505"/>
                <a:gd name="connsiteY91" fmla="*/ 1739822 h 1771805"/>
                <a:gd name="connsiteX92" fmla="*/ 1410192 w 4797505"/>
                <a:gd name="connsiteY92" fmla="*/ 1078802 h 1771805"/>
                <a:gd name="connsiteX93" fmla="*/ 2907369 w 4797505"/>
                <a:gd name="connsiteY93" fmla="*/ 1078802 h 1771805"/>
                <a:gd name="connsiteX94" fmla="*/ 2936671 w 4797505"/>
                <a:gd name="connsiteY94" fmla="*/ 1078802 h 1771805"/>
                <a:gd name="connsiteX95" fmla="*/ 2968700 w 4797505"/>
                <a:gd name="connsiteY95" fmla="*/ 1078802 h 1771805"/>
                <a:gd name="connsiteX96" fmla="*/ 2968700 w 4797505"/>
                <a:gd name="connsiteY96" fmla="*/ 1078120 h 1771805"/>
                <a:gd name="connsiteX97" fmla="*/ 2978922 w 4797505"/>
                <a:gd name="connsiteY97" fmla="*/ 1078120 h 1771805"/>
                <a:gd name="connsiteX98" fmla="*/ 3015721 w 4797505"/>
                <a:gd name="connsiteY98" fmla="*/ 1497221 h 1771805"/>
                <a:gd name="connsiteX99" fmla="*/ 3026625 w 4797505"/>
                <a:gd name="connsiteY99" fmla="*/ 1519027 h 1771805"/>
                <a:gd name="connsiteX100" fmla="*/ 3049113 w 4797505"/>
                <a:gd name="connsiteY100" fmla="*/ 1528568 h 1771805"/>
                <a:gd name="connsiteX101" fmla="*/ 3049794 w 4797505"/>
                <a:gd name="connsiteY101" fmla="*/ 1528568 h 1771805"/>
                <a:gd name="connsiteX102" fmla="*/ 3050476 w 4797505"/>
                <a:gd name="connsiteY102" fmla="*/ 1528568 h 1771805"/>
                <a:gd name="connsiteX103" fmla="*/ 3072964 w 4797505"/>
                <a:gd name="connsiteY103" fmla="*/ 1520390 h 1771805"/>
                <a:gd name="connsiteX104" fmla="*/ 3084549 w 4797505"/>
                <a:gd name="connsiteY104" fmla="*/ 1499265 h 1771805"/>
                <a:gd name="connsiteX105" fmla="*/ 3237197 w 4797505"/>
                <a:gd name="connsiteY105" fmla="*/ 563615 h 1771805"/>
                <a:gd name="connsiteX106" fmla="*/ 3340098 w 4797505"/>
                <a:gd name="connsiteY106" fmla="*/ 1068580 h 1771805"/>
                <a:gd name="connsiteX107" fmla="*/ 3340098 w 4797505"/>
                <a:gd name="connsiteY107" fmla="*/ 1068580 h 1771805"/>
                <a:gd name="connsiteX108" fmla="*/ 3351683 w 4797505"/>
                <a:gd name="connsiteY108" fmla="*/ 1089705 h 1771805"/>
                <a:gd name="connsiteX109" fmla="*/ 3374171 w 4797505"/>
                <a:gd name="connsiteY109" fmla="*/ 1098564 h 1771805"/>
                <a:gd name="connsiteX110" fmla="*/ 3533634 w 4797505"/>
                <a:gd name="connsiteY110" fmla="*/ 1098564 h 1771805"/>
                <a:gd name="connsiteX111" fmla="*/ 3555441 w 4797505"/>
                <a:gd name="connsiteY111" fmla="*/ 1090387 h 1771805"/>
                <a:gd name="connsiteX112" fmla="*/ 3567026 w 4797505"/>
                <a:gd name="connsiteY112" fmla="*/ 1069943 h 1771805"/>
                <a:gd name="connsiteX113" fmla="*/ 3607232 w 4797505"/>
                <a:gd name="connsiteY113" fmla="*/ 842334 h 1771805"/>
                <a:gd name="connsiteX114" fmla="*/ 3656979 w 4797505"/>
                <a:gd name="connsiteY114" fmla="*/ 1071987 h 1771805"/>
                <a:gd name="connsiteX115" fmla="*/ 3669245 w 4797505"/>
                <a:gd name="connsiteY115" fmla="*/ 1091068 h 1771805"/>
                <a:gd name="connsiteX116" fmla="*/ 3690371 w 4797505"/>
                <a:gd name="connsiteY116" fmla="*/ 1098564 h 1771805"/>
                <a:gd name="connsiteX117" fmla="*/ 4326858 w 4797505"/>
                <a:gd name="connsiteY117" fmla="*/ 1098564 h 1771805"/>
                <a:gd name="connsiteX118" fmla="*/ 4368427 w 4797505"/>
                <a:gd name="connsiteY118" fmla="*/ 1098564 h 1771805"/>
                <a:gd name="connsiteX119" fmla="*/ 4459744 w 4797505"/>
                <a:gd name="connsiteY119" fmla="*/ 1015426 h 1771805"/>
                <a:gd name="connsiteX120" fmla="*/ 4459744 w 4797505"/>
                <a:gd name="connsiteY120" fmla="*/ 659020 h 1771805"/>
                <a:gd name="connsiteX121" fmla="*/ 4665545 w 4797505"/>
                <a:gd name="connsiteY121" fmla="*/ 552030 h 1771805"/>
                <a:gd name="connsiteX122" fmla="*/ 4673042 w 4797505"/>
                <a:gd name="connsiteY122" fmla="*/ 522046 h 1771805"/>
                <a:gd name="connsiteX123" fmla="*/ 4794342 w 4797505"/>
                <a:gd name="connsiteY123" fmla="*/ 184721 h 17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797505" h="1771805">
                  <a:moveTo>
                    <a:pt x="4794342" y="184721"/>
                  </a:moveTo>
                  <a:cubicBezTo>
                    <a:pt x="4799112" y="137019"/>
                    <a:pt x="4787527" y="98176"/>
                    <a:pt x="4759588" y="70236"/>
                  </a:cubicBezTo>
                  <a:cubicBezTo>
                    <a:pt x="4733692" y="43658"/>
                    <a:pt x="4698256" y="32074"/>
                    <a:pt x="4668953" y="27303"/>
                  </a:cubicBezTo>
                  <a:cubicBezTo>
                    <a:pt x="4659412" y="16400"/>
                    <a:pt x="4643739" y="8222"/>
                    <a:pt x="4624657" y="6178"/>
                  </a:cubicBezTo>
                  <a:cubicBezTo>
                    <a:pt x="4593310" y="2771"/>
                    <a:pt x="4566052" y="18444"/>
                    <a:pt x="4564007" y="39570"/>
                  </a:cubicBezTo>
                  <a:cubicBezTo>
                    <a:pt x="4561963" y="61377"/>
                    <a:pt x="4585814" y="81820"/>
                    <a:pt x="4616480" y="84546"/>
                  </a:cubicBezTo>
                  <a:cubicBezTo>
                    <a:pt x="4636242" y="86591"/>
                    <a:pt x="4653961" y="81139"/>
                    <a:pt x="4665545" y="71598"/>
                  </a:cubicBezTo>
                  <a:cubicBezTo>
                    <a:pt x="4686671" y="75687"/>
                    <a:pt x="4711203" y="83865"/>
                    <a:pt x="4727559" y="101583"/>
                  </a:cubicBezTo>
                  <a:cubicBezTo>
                    <a:pt x="4745958" y="119982"/>
                    <a:pt x="4753454" y="145878"/>
                    <a:pt x="4750047" y="180633"/>
                  </a:cubicBezTo>
                  <a:cubicBezTo>
                    <a:pt x="4742551" y="254912"/>
                    <a:pt x="4715974" y="366672"/>
                    <a:pt x="4663501" y="456625"/>
                  </a:cubicBezTo>
                  <a:cubicBezTo>
                    <a:pt x="4655323" y="470255"/>
                    <a:pt x="4647146" y="483203"/>
                    <a:pt x="4638968" y="494787"/>
                  </a:cubicBezTo>
                  <a:cubicBezTo>
                    <a:pt x="4629428" y="494787"/>
                    <a:pt x="4619888" y="499558"/>
                    <a:pt x="4613073" y="507054"/>
                  </a:cubicBezTo>
                  <a:cubicBezTo>
                    <a:pt x="4561963" y="567023"/>
                    <a:pt x="4499268" y="593600"/>
                    <a:pt x="4430440" y="593600"/>
                  </a:cubicBezTo>
                  <a:cubicBezTo>
                    <a:pt x="4365020" y="591555"/>
                    <a:pt x="4306414" y="562252"/>
                    <a:pt x="4257349" y="504328"/>
                  </a:cubicBezTo>
                  <a:cubicBezTo>
                    <a:pt x="4250534" y="496150"/>
                    <a:pt x="4240993" y="492062"/>
                    <a:pt x="4231453" y="492062"/>
                  </a:cubicBezTo>
                  <a:cubicBezTo>
                    <a:pt x="4223275" y="480477"/>
                    <a:pt x="4214417" y="467529"/>
                    <a:pt x="4206920" y="453900"/>
                  </a:cubicBezTo>
                  <a:cubicBezTo>
                    <a:pt x="4153766" y="363946"/>
                    <a:pt x="4126507" y="252186"/>
                    <a:pt x="4119011" y="178588"/>
                  </a:cubicBezTo>
                  <a:cubicBezTo>
                    <a:pt x="4115604" y="143834"/>
                    <a:pt x="4122419" y="117938"/>
                    <a:pt x="4140818" y="99538"/>
                  </a:cubicBezTo>
                  <a:cubicBezTo>
                    <a:pt x="4157855" y="81820"/>
                    <a:pt x="4181706" y="73643"/>
                    <a:pt x="4203513" y="69554"/>
                  </a:cubicBezTo>
                  <a:cubicBezTo>
                    <a:pt x="4214417" y="79095"/>
                    <a:pt x="4232816" y="84546"/>
                    <a:pt x="4252578" y="82502"/>
                  </a:cubicBezTo>
                  <a:cubicBezTo>
                    <a:pt x="4283926" y="79095"/>
                    <a:pt x="4307777" y="59332"/>
                    <a:pt x="4305051" y="37525"/>
                  </a:cubicBezTo>
                  <a:cubicBezTo>
                    <a:pt x="4303007" y="15718"/>
                    <a:pt x="4275748" y="726"/>
                    <a:pt x="4244401" y="4134"/>
                  </a:cubicBezTo>
                  <a:cubicBezTo>
                    <a:pt x="4225320" y="6178"/>
                    <a:pt x="4208964" y="14356"/>
                    <a:pt x="4199424" y="25259"/>
                  </a:cubicBezTo>
                  <a:cubicBezTo>
                    <a:pt x="4170121" y="30029"/>
                    <a:pt x="4135366" y="42296"/>
                    <a:pt x="4109471" y="68191"/>
                  </a:cubicBezTo>
                  <a:cubicBezTo>
                    <a:pt x="4081531" y="96131"/>
                    <a:pt x="4069946" y="134975"/>
                    <a:pt x="4075398" y="183359"/>
                  </a:cubicBezTo>
                  <a:cubicBezTo>
                    <a:pt x="4083575" y="262408"/>
                    <a:pt x="4118330" y="413012"/>
                    <a:pt x="4196698" y="520002"/>
                  </a:cubicBezTo>
                  <a:cubicBezTo>
                    <a:pt x="4194654" y="530224"/>
                    <a:pt x="4197380" y="541127"/>
                    <a:pt x="4204195" y="549986"/>
                  </a:cubicBezTo>
                  <a:cubicBezTo>
                    <a:pt x="4258712" y="614044"/>
                    <a:pt x="4319362" y="647435"/>
                    <a:pt x="4391597" y="660383"/>
                  </a:cubicBezTo>
                  <a:lnTo>
                    <a:pt x="4391597" y="928880"/>
                  </a:lnTo>
                  <a:cubicBezTo>
                    <a:pt x="4392960" y="972494"/>
                    <a:pt x="4385464" y="1027011"/>
                    <a:pt x="4318680" y="1031099"/>
                  </a:cubicBezTo>
                  <a:lnTo>
                    <a:pt x="3718992" y="1031099"/>
                  </a:lnTo>
                  <a:lnTo>
                    <a:pt x="3638579" y="673331"/>
                  </a:lnTo>
                  <a:cubicBezTo>
                    <a:pt x="3636535" y="665153"/>
                    <a:pt x="3632446" y="659020"/>
                    <a:pt x="3626313" y="654250"/>
                  </a:cubicBezTo>
                  <a:cubicBezTo>
                    <a:pt x="3620861" y="649480"/>
                    <a:pt x="3613365" y="647435"/>
                    <a:pt x="3604506" y="646754"/>
                  </a:cubicBezTo>
                  <a:lnTo>
                    <a:pt x="3603825" y="646754"/>
                  </a:lnTo>
                  <a:cubicBezTo>
                    <a:pt x="3595647" y="646754"/>
                    <a:pt x="3588151" y="649480"/>
                    <a:pt x="3582018" y="654931"/>
                  </a:cubicBezTo>
                  <a:cubicBezTo>
                    <a:pt x="3576566" y="659702"/>
                    <a:pt x="3571796" y="666516"/>
                    <a:pt x="3570433" y="674694"/>
                  </a:cubicBezTo>
                  <a:lnTo>
                    <a:pt x="3504331" y="1030418"/>
                  </a:lnTo>
                  <a:lnTo>
                    <a:pt x="3404837" y="1030418"/>
                  </a:lnTo>
                  <a:lnTo>
                    <a:pt x="3272633" y="319651"/>
                  </a:lnTo>
                  <a:cubicBezTo>
                    <a:pt x="3271270" y="311474"/>
                    <a:pt x="3267182" y="303978"/>
                    <a:pt x="3261048" y="298526"/>
                  </a:cubicBezTo>
                  <a:cubicBezTo>
                    <a:pt x="3254915" y="293074"/>
                    <a:pt x="3246738" y="290348"/>
                    <a:pt x="3238560" y="290348"/>
                  </a:cubicBezTo>
                  <a:cubicBezTo>
                    <a:pt x="3230382" y="290348"/>
                    <a:pt x="3222205" y="293756"/>
                    <a:pt x="3216072" y="298526"/>
                  </a:cubicBezTo>
                  <a:cubicBezTo>
                    <a:pt x="3209938" y="303978"/>
                    <a:pt x="3205850" y="311474"/>
                    <a:pt x="3204487" y="319651"/>
                  </a:cubicBezTo>
                  <a:lnTo>
                    <a:pt x="3060016" y="1199421"/>
                  </a:lnTo>
                  <a:lnTo>
                    <a:pt x="3046387" y="1041321"/>
                  </a:lnTo>
                  <a:cubicBezTo>
                    <a:pt x="3045706" y="1032462"/>
                    <a:pt x="3041617" y="1024285"/>
                    <a:pt x="3035484" y="1018833"/>
                  </a:cubicBezTo>
                  <a:cubicBezTo>
                    <a:pt x="3029351" y="1013381"/>
                    <a:pt x="3021173" y="1009293"/>
                    <a:pt x="3012314" y="1009293"/>
                  </a:cubicBezTo>
                  <a:lnTo>
                    <a:pt x="2970745" y="1009293"/>
                  </a:lnTo>
                  <a:lnTo>
                    <a:pt x="2970745" y="1008611"/>
                  </a:lnTo>
                  <a:lnTo>
                    <a:pt x="2938716" y="1008611"/>
                  </a:lnTo>
                  <a:lnTo>
                    <a:pt x="2909413" y="1008611"/>
                  </a:lnTo>
                  <a:lnTo>
                    <a:pt x="1420414" y="1008611"/>
                  </a:lnTo>
                  <a:lnTo>
                    <a:pt x="1399289" y="1008611"/>
                  </a:lnTo>
                  <a:lnTo>
                    <a:pt x="1380889" y="1008611"/>
                  </a:lnTo>
                  <a:cubicBezTo>
                    <a:pt x="1372030" y="1008611"/>
                    <a:pt x="1363853" y="1012018"/>
                    <a:pt x="1358401" y="1016789"/>
                  </a:cubicBezTo>
                  <a:cubicBezTo>
                    <a:pt x="1352268" y="1022240"/>
                    <a:pt x="1347498" y="1029736"/>
                    <a:pt x="1346816" y="1037914"/>
                  </a:cubicBezTo>
                  <a:lnTo>
                    <a:pt x="1250048" y="1495176"/>
                  </a:lnTo>
                  <a:lnTo>
                    <a:pt x="1083771" y="567023"/>
                  </a:lnTo>
                  <a:cubicBezTo>
                    <a:pt x="1082408" y="558845"/>
                    <a:pt x="1078319" y="551349"/>
                    <a:pt x="1072186" y="545897"/>
                  </a:cubicBezTo>
                  <a:cubicBezTo>
                    <a:pt x="1066053" y="540446"/>
                    <a:pt x="1058557" y="537720"/>
                    <a:pt x="1049698" y="537720"/>
                  </a:cubicBezTo>
                  <a:lnTo>
                    <a:pt x="1049016" y="537720"/>
                  </a:lnTo>
                  <a:lnTo>
                    <a:pt x="1048335" y="537720"/>
                  </a:lnTo>
                  <a:cubicBezTo>
                    <a:pt x="1040157" y="537720"/>
                    <a:pt x="1031980" y="541808"/>
                    <a:pt x="1025847" y="547260"/>
                  </a:cubicBezTo>
                  <a:cubicBezTo>
                    <a:pt x="1019713" y="552712"/>
                    <a:pt x="1015625" y="560889"/>
                    <a:pt x="1014943" y="569748"/>
                  </a:cubicBezTo>
                  <a:lnTo>
                    <a:pt x="978144" y="1009293"/>
                  </a:lnTo>
                  <a:lnTo>
                    <a:pt x="899094" y="1009293"/>
                  </a:lnTo>
                  <a:cubicBezTo>
                    <a:pt x="890235" y="1009293"/>
                    <a:pt x="882739" y="1012700"/>
                    <a:pt x="876606" y="1017470"/>
                  </a:cubicBezTo>
                  <a:cubicBezTo>
                    <a:pt x="870473" y="1022922"/>
                    <a:pt x="866384" y="1029736"/>
                    <a:pt x="865021" y="1038595"/>
                  </a:cubicBezTo>
                  <a:lnTo>
                    <a:pt x="805052" y="1289374"/>
                  </a:lnTo>
                  <a:lnTo>
                    <a:pt x="775068" y="1052906"/>
                  </a:lnTo>
                  <a:cubicBezTo>
                    <a:pt x="773705" y="1044729"/>
                    <a:pt x="768935" y="1037914"/>
                    <a:pt x="762801" y="1033144"/>
                  </a:cubicBezTo>
                  <a:cubicBezTo>
                    <a:pt x="756668" y="1028374"/>
                    <a:pt x="749172" y="1025648"/>
                    <a:pt x="740995" y="1025648"/>
                  </a:cubicBezTo>
                  <a:lnTo>
                    <a:pt x="3651" y="1025648"/>
                  </a:lnTo>
                  <a:lnTo>
                    <a:pt x="3651" y="1095157"/>
                  </a:lnTo>
                  <a:lnTo>
                    <a:pt x="713055" y="1095157"/>
                  </a:lnTo>
                  <a:lnTo>
                    <a:pt x="775749" y="1486999"/>
                  </a:lnTo>
                  <a:cubicBezTo>
                    <a:pt x="777794" y="1495176"/>
                    <a:pt x="781882" y="1501991"/>
                    <a:pt x="788016" y="1506761"/>
                  </a:cubicBezTo>
                  <a:cubicBezTo>
                    <a:pt x="794149" y="1511531"/>
                    <a:pt x="802326" y="1514257"/>
                    <a:pt x="810504" y="1514257"/>
                  </a:cubicBezTo>
                  <a:lnTo>
                    <a:pt x="810504" y="1514257"/>
                  </a:lnTo>
                  <a:cubicBezTo>
                    <a:pt x="818682" y="1514257"/>
                    <a:pt x="826178" y="1510850"/>
                    <a:pt x="832311" y="1506080"/>
                  </a:cubicBezTo>
                  <a:cubicBezTo>
                    <a:pt x="838444" y="1500628"/>
                    <a:pt x="842533" y="1493813"/>
                    <a:pt x="843896" y="1485636"/>
                  </a:cubicBezTo>
                  <a:lnTo>
                    <a:pt x="929079" y="1080165"/>
                  </a:lnTo>
                  <a:lnTo>
                    <a:pt x="1010173" y="1080165"/>
                  </a:lnTo>
                  <a:cubicBezTo>
                    <a:pt x="1019032" y="1080165"/>
                    <a:pt x="1027209" y="1076758"/>
                    <a:pt x="1033343" y="1071306"/>
                  </a:cubicBezTo>
                  <a:cubicBezTo>
                    <a:pt x="1039476" y="1065854"/>
                    <a:pt x="1043565" y="1057677"/>
                    <a:pt x="1044246" y="1048817"/>
                  </a:cubicBezTo>
                  <a:lnTo>
                    <a:pt x="1057875" y="890036"/>
                  </a:lnTo>
                  <a:lnTo>
                    <a:pt x="1216656" y="1740503"/>
                  </a:lnTo>
                  <a:cubicBezTo>
                    <a:pt x="1218019" y="1748681"/>
                    <a:pt x="1222108" y="1756177"/>
                    <a:pt x="1228241" y="1761629"/>
                  </a:cubicBezTo>
                  <a:cubicBezTo>
                    <a:pt x="1234375" y="1767080"/>
                    <a:pt x="1241871" y="1769806"/>
                    <a:pt x="1250730" y="1769806"/>
                  </a:cubicBezTo>
                  <a:cubicBezTo>
                    <a:pt x="1259589" y="1769806"/>
                    <a:pt x="1267085" y="1766399"/>
                    <a:pt x="1273218" y="1760947"/>
                  </a:cubicBezTo>
                  <a:cubicBezTo>
                    <a:pt x="1279351" y="1755495"/>
                    <a:pt x="1283440" y="1747999"/>
                    <a:pt x="1284803" y="1739822"/>
                  </a:cubicBezTo>
                  <a:lnTo>
                    <a:pt x="1410192" y="1078802"/>
                  </a:lnTo>
                  <a:lnTo>
                    <a:pt x="2907369" y="1078802"/>
                  </a:lnTo>
                  <a:lnTo>
                    <a:pt x="2936671" y="1078802"/>
                  </a:lnTo>
                  <a:lnTo>
                    <a:pt x="2968700" y="1078802"/>
                  </a:lnTo>
                  <a:lnTo>
                    <a:pt x="2968700" y="1078120"/>
                  </a:lnTo>
                  <a:lnTo>
                    <a:pt x="2978922" y="1078120"/>
                  </a:lnTo>
                  <a:lnTo>
                    <a:pt x="3015721" y="1497221"/>
                  </a:lnTo>
                  <a:cubicBezTo>
                    <a:pt x="3016403" y="1505398"/>
                    <a:pt x="3020492" y="1513576"/>
                    <a:pt x="3026625" y="1519027"/>
                  </a:cubicBezTo>
                  <a:cubicBezTo>
                    <a:pt x="3032758" y="1524479"/>
                    <a:pt x="3040254" y="1528568"/>
                    <a:pt x="3049113" y="1528568"/>
                  </a:cubicBezTo>
                  <a:lnTo>
                    <a:pt x="3049794" y="1528568"/>
                  </a:lnTo>
                  <a:lnTo>
                    <a:pt x="3050476" y="1528568"/>
                  </a:lnTo>
                  <a:cubicBezTo>
                    <a:pt x="3059335" y="1528568"/>
                    <a:pt x="3066831" y="1525161"/>
                    <a:pt x="3072964" y="1520390"/>
                  </a:cubicBezTo>
                  <a:cubicBezTo>
                    <a:pt x="3079097" y="1514939"/>
                    <a:pt x="3083186" y="1507443"/>
                    <a:pt x="3084549" y="1499265"/>
                  </a:cubicBezTo>
                  <a:lnTo>
                    <a:pt x="3237197" y="563615"/>
                  </a:lnTo>
                  <a:lnTo>
                    <a:pt x="3340098" y="1068580"/>
                  </a:lnTo>
                  <a:lnTo>
                    <a:pt x="3340098" y="1068580"/>
                  </a:lnTo>
                  <a:cubicBezTo>
                    <a:pt x="3341461" y="1076758"/>
                    <a:pt x="3345550" y="1084254"/>
                    <a:pt x="3351683" y="1089705"/>
                  </a:cubicBezTo>
                  <a:cubicBezTo>
                    <a:pt x="3357816" y="1095157"/>
                    <a:pt x="3365994" y="1098564"/>
                    <a:pt x="3374171" y="1098564"/>
                  </a:cubicBezTo>
                  <a:lnTo>
                    <a:pt x="3533634" y="1098564"/>
                  </a:lnTo>
                  <a:cubicBezTo>
                    <a:pt x="3541811" y="1098564"/>
                    <a:pt x="3549307" y="1095157"/>
                    <a:pt x="3555441" y="1090387"/>
                  </a:cubicBezTo>
                  <a:cubicBezTo>
                    <a:pt x="3561574" y="1085616"/>
                    <a:pt x="3565663" y="1078802"/>
                    <a:pt x="3567026" y="1069943"/>
                  </a:cubicBezTo>
                  <a:lnTo>
                    <a:pt x="3607232" y="842334"/>
                  </a:lnTo>
                  <a:lnTo>
                    <a:pt x="3656979" y="1071987"/>
                  </a:lnTo>
                  <a:cubicBezTo>
                    <a:pt x="3659023" y="1079483"/>
                    <a:pt x="3663112" y="1086298"/>
                    <a:pt x="3669245" y="1091068"/>
                  </a:cubicBezTo>
                  <a:cubicBezTo>
                    <a:pt x="3675378" y="1095838"/>
                    <a:pt x="3682875" y="1098564"/>
                    <a:pt x="3690371" y="1098564"/>
                  </a:cubicBezTo>
                  <a:cubicBezTo>
                    <a:pt x="3854603" y="1098564"/>
                    <a:pt x="4162625" y="1098564"/>
                    <a:pt x="4326858" y="1098564"/>
                  </a:cubicBezTo>
                  <a:cubicBezTo>
                    <a:pt x="4340487" y="1098564"/>
                    <a:pt x="4354798" y="1098564"/>
                    <a:pt x="4368427" y="1098564"/>
                  </a:cubicBezTo>
                  <a:cubicBezTo>
                    <a:pt x="4405226" y="1098564"/>
                    <a:pt x="4459744" y="1066536"/>
                    <a:pt x="4459744" y="1015426"/>
                  </a:cubicBezTo>
                  <a:lnTo>
                    <a:pt x="4459744" y="659020"/>
                  </a:lnTo>
                  <a:cubicBezTo>
                    <a:pt x="4532660" y="646072"/>
                    <a:pt x="4611710" y="615407"/>
                    <a:pt x="4665545" y="552030"/>
                  </a:cubicBezTo>
                  <a:cubicBezTo>
                    <a:pt x="4672360" y="543171"/>
                    <a:pt x="4675086" y="532268"/>
                    <a:pt x="4673042" y="522046"/>
                  </a:cubicBezTo>
                  <a:cubicBezTo>
                    <a:pt x="4752091" y="414375"/>
                    <a:pt x="4786846" y="264453"/>
                    <a:pt x="4794342" y="184721"/>
                  </a:cubicBezTo>
                  <a:close/>
                </a:path>
              </a:pathLst>
            </a:custGeom>
            <a:solidFill>
              <a:schemeClr val="accent1"/>
            </a:solidFill>
            <a:ln w="6804"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xmlns="" id="{954DC28B-DA5D-40A5-BF5E-A8C07B13D6FD}"/>
                </a:ext>
              </a:extLst>
            </p:cNvPr>
            <p:cNvGrpSpPr/>
            <p:nvPr/>
          </p:nvGrpSpPr>
          <p:grpSpPr>
            <a:xfrm>
              <a:off x="477110" y="5658084"/>
              <a:ext cx="655351" cy="517912"/>
              <a:chOff x="6456816" y="5667609"/>
              <a:chExt cx="655351" cy="517912"/>
            </a:xfrm>
          </p:grpSpPr>
          <p:sp>
            <p:nvSpPr>
              <p:cNvPr id="15" name="Freeform: Shape 14">
                <a:extLst>
                  <a:ext uri="{FF2B5EF4-FFF2-40B4-BE49-F238E27FC236}">
                    <a16:creationId xmlns:a16="http://schemas.microsoft.com/office/drawing/2014/main" xmlns="" id="{EC1A92E0-BAD3-4804-8CFB-2F36973DF453}"/>
                  </a:ext>
                </a:extLst>
              </p:cNvPr>
              <p:cNvSpPr/>
              <p:nvPr/>
            </p:nvSpPr>
            <p:spPr>
              <a:xfrm>
                <a:off x="6456816" y="5667609"/>
                <a:ext cx="517913" cy="517912"/>
              </a:xfrm>
              <a:custGeom>
                <a:avLst/>
                <a:gdLst>
                  <a:gd name="connsiteX0" fmla="*/ 460475 w 517912"/>
                  <a:gd name="connsiteY0" fmla="*/ 259443 h 517912"/>
                  <a:gd name="connsiteX1" fmla="*/ 259443 w 517912"/>
                  <a:gd name="connsiteY1" fmla="*/ 460475 h 517912"/>
                  <a:gd name="connsiteX2" fmla="*/ 58411 w 517912"/>
                  <a:gd name="connsiteY2" fmla="*/ 259443 h 517912"/>
                  <a:gd name="connsiteX3" fmla="*/ 259443 w 517912"/>
                  <a:gd name="connsiteY3" fmla="*/ 58411 h 517912"/>
                  <a:gd name="connsiteX4" fmla="*/ 460475 w 517912"/>
                  <a:gd name="connsiteY4" fmla="*/ 259443 h 51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12" h="517912">
                    <a:moveTo>
                      <a:pt x="460475" y="259443"/>
                    </a:moveTo>
                    <a:cubicBezTo>
                      <a:pt x="460475" y="370470"/>
                      <a:pt x="370470" y="460475"/>
                      <a:pt x="259443" y="460475"/>
                    </a:cubicBezTo>
                    <a:cubicBezTo>
                      <a:pt x="148416" y="460475"/>
                      <a:pt x="58411" y="370470"/>
                      <a:pt x="58411" y="259443"/>
                    </a:cubicBezTo>
                    <a:cubicBezTo>
                      <a:pt x="58411" y="148416"/>
                      <a:pt x="148416" y="58411"/>
                      <a:pt x="259443" y="58411"/>
                    </a:cubicBezTo>
                    <a:cubicBezTo>
                      <a:pt x="370470" y="58411"/>
                      <a:pt x="460475" y="148416"/>
                      <a:pt x="460475" y="259443"/>
                    </a:cubicBezTo>
                    <a:close/>
                  </a:path>
                </a:pathLst>
              </a:custGeom>
              <a:noFill/>
              <a:ln w="108857" cap="flat">
                <a:solidFill>
                  <a:schemeClr val="accent1"/>
                </a:solidFill>
                <a:prstDash val="solid"/>
                <a:miter/>
              </a:ln>
            </p:spPr>
            <p:txBody>
              <a:bodyPr rtlCol="0" anchor="ctr"/>
              <a:lstStyle/>
              <a:p>
                <a:endParaRPr lang="en-US"/>
              </a:p>
            </p:txBody>
          </p:sp>
          <p:sp>
            <p:nvSpPr>
              <p:cNvPr id="16" name="Rectangle: Rounded Corners 15">
                <a:extLst>
                  <a:ext uri="{FF2B5EF4-FFF2-40B4-BE49-F238E27FC236}">
                    <a16:creationId xmlns:a16="http://schemas.microsoft.com/office/drawing/2014/main" xmlns="" id="{4F7FFD43-6FA1-417C-AF01-3A54B1EB3288}"/>
                  </a:ext>
                </a:extLst>
              </p:cNvPr>
              <p:cNvSpPr/>
              <p:nvPr/>
            </p:nvSpPr>
            <p:spPr>
              <a:xfrm>
                <a:off x="6913640" y="5874290"/>
                <a:ext cx="198527" cy="129467"/>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xmlns="" id="{96DB8CE4-378A-4F7B-8401-E84CD0360554}"/>
                </a:ext>
              </a:extLst>
            </p:cNvPr>
            <p:cNvSpPr/>
            <p:nvPr/>
          </p:nvSpPr>
          <p:spPr>
            <a:xfrm>
              <a:off x="995023" y="5898145"/>
              <a:ext cx="6479203" cy="653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771007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75920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Style slide layout">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66313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Agenda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84111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xmlns="" id="{5A62946D-F2ED-4A3A-AFF2-114E504B5745}"/>
              </a:ext>
            </a:extLst>
          </p:cNvPr>
          <p:cNvSpPr/>
          <p:nvPr userDrawn="1"/>
        </p:nvSpPr>
        <p:spPr>
          <a:xfrm>
            <a:off x="2893325" y="0"/>
            <a:ext cx="8973404" cy="6858000"/>
          </a:xfrm>
          <a:custGeom>
            <a:avLst/>
            <a:gdLst>
              <a:gd name="connsiteX0" fmla="*/ 2419756 w 9202402"/>
              <a:gd name="connsiteY0" fmla="*/ 0 h 6858000"/>
              <a:gd name="connsiteX1" fmla="*/ 9202402 w 9202402"/>
              <a:gd name="connsiteY1" fmla="*/ 0 h 6858000"/>
              <a:gd name="connsiteX2" fmla="*/ 9188795 w 9202402"/>
              <a:gd name="connsiteY2" fmla="*/ 6858000 h 6858000"/>
              <a:gd name="connsiteX3" fmla="*/ 0 w 92024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202402" h="6858000">
                <a:moveTo>
                  <a:pt x="2419756" y="0"/>
                </a:moveTo>
                <a:lnTo>
                  <a:pt x="9202402" y="0"/>
                </a:lnTo>
                <a:lnTo>
                  <a:pt x="9188795" y="6858000"/>
                </a:lnTo>
                <a:lnTo>
                  <a:pt x="0" y="6858000"/>
                </a:lnTo>
                <a:close/>
              </a:path>
            </a:pathLst>
          </a:custGeom>
          <a:solidFill>
            <a:schemeClr val="bg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xmlns="" id="{2B98542A-477C-4DE9-BE76-734F0C55D2E2}"/>
              </a:ext>
            </a:extLst>
          </p:cNvPr>
          <p:cNvSpPr/>
          <p:nvPr userDrawn="1"/>
        </p:nvSpPr>
        <p:spPr>
          <a:xfrm>
            <a:off x="3218596" y="0"/>
            <a:ext cx="8973404" cy="6858000"/>
          </a:xfrm>
          <a:custGeom>
            <a:avLst/>
            <a:gdLst>
              <a:gd name="connsiteX0" fmla="*/ 2419756 w 9202402"/>
              <a:gd name="connsiteY0" fmla="*/ 0 h 6858000"/>
              <a:gd name="connsiteX1" fmla="*/ 9202402 w 9202402"/>
              <a:gd name="connsiteY1" fmla="*/ 0 h 6858000"/>
              <a:gd name="connsiteX2" fmla="*/ 9188795 w 9202402"/>
              <a:gd name="connsiteY2" fmla="*/ 6858000 h 6858000"/>
              <a:gd name="connsiteX3" fmla="*/ 0 w 92024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202402" h="6858000">
                <a:moveTo>
                  <a:pt x="2419756" y="0"/>
                </a:moveTo>
                <a:lnTo>
                  <a:pt x="9202402" y="0"/>
                </a:lnTo>
                <a:lnTo>
                  <a:pt x="9188795"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91594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9139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49138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9002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Picture Placeholder 13">
            <a:extLst>
              <a:ext uri="{FF2B5EF4-FFF2-40B4-BE49-F238E27FC236}">
                <a16:creationId xmlns:a16="http://schemas.microsoft.com/office/drawing/2014/main" xmlns="" id="{9724905C-0466-437C-B401-0D9138D8404B}"/>
              </a:ext>
            </a:extLst>
          </p:cNvPr>
          <p:cNvSpPr>
            <a:spLocks noGrp="1"/>
          </p:cNvSpPr>
          <p:nvPr>
            <p:ph type="pic" sz="quarter" idx="11" hasCustomPrompt="1"/>
          </p:nvPr>
        </p:nvSpPr>
        <p:spPr>
          <a:xfrm>
            <a:off x="5407010" y="2578730"/>
            <a:ext cx="1786270" cy="1786270"/>
          </a:xfrm>
          <a:prstGeom prst="ellipse">
            <a:avLst/>
          </a:prstGeom>
          <a:solidFill>
            <a:schemeClr val="bg1">
              <a:lumMod val="95000"/>
            </a:schemeClr>
          </a:solidFill>
        </p:spPr>
        <p:txBody>
          <a:bodyPr lIns="144000" tIns="0" anchor="ctr"/>
          <a:lstStyle>
            <a:lvl1pPr marL="0" indent="0" algn="ctr">
              <a:buNone/>
              <a:defRPr sz="1200" baseline="0">
                <a:solidFill>
                  <a:schemeClr val="tx1">
                    <a:lumMod val="75000"/>
                    <a:lumOff val="25000"/>
                  </a:schemeClr>
                </a:solidFill>
                <a:latin typeface="+mn-lt"/>
                <a:cs typeface="Arial" pitchFamily="34" charset="0"/>
              </a:defRPr>
            </a:lvl1pPr>
          </a:lstStyle>
          <a:p>
            <a:r>
              <a:rPr lang="en-US" altLang="ko-KR" dirty="0"/>
              <a:t>Insert Your Images</a:t>
            </a:r>
            <a:endParaRPr lang="ko-KR" altLang="en-US" dirty="0"/>
          </a:p>
        </p:txBody>
      </p:sp>
      <p:sp>
        <p:nvSpPr>
          <p:cNvPr id="3" name="Picture Placeholder 13">
            <a:extLst>
              <a:ext uri="{FF2B5EF4-FFF2-40B4-BE49-F238E27FC236}">
                <a16:creationId xmlns:a16="http://schemas.microsoft.com/office/drawing/2014/main" xmlns="" id="{07F0600E-0EC8-4BFF-B37B-C982DE03E9B0}"/>
              </a:ext>
            </a:extLst>
          </p:cNvPr>
          <p:cNvSpPr>
            <a:spLocks noGrp="1"/>
          </p:cNvSpPr>
          <p:nvPr>
            <p:ph type="pic" sz="quarter" idx="12" hasCustomPrompt="1"/>
          </p:nvPr>
        </p:nvSpPr>
        <p:spPr>
          <a:xfrm>
            <a:off x="7584660" y="2578730"/>
            <a:ext cx="1786270" cy="1786270"/>
          </a:xfrm>
          <a:prstGeom prst="ellipse">
            <a:avLst/>
          </a:prstGeom>
          <a:solidFill>
            <a:schemeClr val="bg1">
              <a:lumMod val="95000"/>
            </a:schemeClr>
          </a:solidFill>
        </p:spPr>
        <p:txBody>
          <a:bodyPr lIns="144000" tIns="0" anchor="ctr"/>
          <a:lstStyle>
            <a:lvl1pPr marL="0" indent="0" algn="ctr">
              <a:buNone/>
              <a:defRPr sz="1200" baseline="0">
                <a:solidFill>
                  <a:schemeClr val="tx1">
                    <a:lumMod val="75000"/>
                    <a:lumOff val="25000"/>
                  </a:schemeClr>
                </a:solidFill>
                <a:latin typeface="+mn-lt"/>
                <a:cs typeface="Arial" pitchFamily="34" charset="0"/>
              </a:defRPr>
            </a:lvl1pPr>
          </a:lstStyle>
          <a:p>
            <a:r>
              <a:rPr lang="en-US" altLang="ko-KR" dirty="0"/>
              <a:t>Insert Your Images</a:t>
            </a:r>
            <a:endParaRPr lang="ko-KR" altLang="en-US" dirty="0"/>
          </a:p>
        </p:txBody>
      </p:sp>
      <p:sp>
        <p:nvSpPr>
          <p:cNvPr id="4" name="Picture Placeholder 13">
            <a:extLst>
              <a:ext uri="{FF2B5EF4-FFF2-40B4-BE49-F238E27FC236}">
                <a16:creationId xmlns:a16="http://schemas.microsoft.com/office/drawing/2014/main" xmlns="" id="{D49170B7-DADE-4D0A-8BF8-230A982B746F}"/>
              </a:ext>
            </a:extLst>
          </p:cNvPr>
          <p:cNvSpPr>
            <a:spLocks noGrp="1"/>
          </p:cNvSpPr>
          <p:nvPr>
            <p:ph type="pic" sz="quarter" idx="13" hasCustomPrompt="1"/>
          </p:nvPr>
        </p:nvSpPr>
        <p:spPr>
          <a:xfrm>
            <a:off x="9762309" y="2578730"/>
            <a:ext cx="1786270" cy="1786270"/>
          </a:xfrm>
          <a:prstGeom prst="ellipse">
            <a:avLst/>
          </a:prstGeom>
          <a:solidFill>
            <a:schemeClr val="bg1">
              <a:lumMod val="95000"/>
            </a:schemeClr>
          </a:solidFill>
        </p:spPr>
        <p:txBody>
          <a:bodyPr lIns="144000" tIns="0" anchor="ctr"/>
          <a:lstStyle>
            <a:lvl1pPr marL="0" indent="0" algn="ctr">
              <a:buNone/>
              <a:defRPr sz="1200" baseline="0">
                <a:solidFill>
                  <a:schemeClr val="tx1">
                    <a:lumMod val="75000"/>
                    <a:lumOff val="25000"/>
                  </a:schemeClr>
                </a:solidFill>
                <a:latin typeface="+mn-lt"/>
                <a:cs typeface="Arial" pitchFamily="34" charset="0"/>
              </a:defRPr>
            </a:lvl1pPr>
          </a:lstStyle>
          <a:p>
            <a:r>
              <a:rPr lang="en-US" altLang="ko-KR" dirty="0"/>
              <a:t>Insert Your Images</a:t>
            </a:r>
            <a:endParaRPr lang="ko-KR" altLang="en-US" dirty="0"/>
          </a:p>
        </p:txBody>
      </p:sp>
    </p:spTree>
    <p:extLst>
      <p:ext uri="{BB962C8B-B14F-4D97-AF65-F5344CB8AC3E}">
        <p14:creationId xmlns:p14="http://schemas.microsoft.com/office/powerpoint/2010/main" val="4026305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C47C69-22BC-405B-8E87-FECE110BE624}" type="datetimeFigureOut">
              <a:rPr lang="en-US" smtClean="0"/>
              <a:pPr/>
              <a:t>9/2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3570723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8612B6C6-12D5-49A1-B688-91C869139E0E}"/>
              </a:ext>
            </a:extLst>
          </p:cNvPr>
          <p:cNvSpPr/>
          <p:nvPr userDrawn="1"/>
        </p:nvSpPr>
        <p:spPr>
          <a:xfrm>
            <a:off x="0" y="0"/>
            <a:ext cx="12192000" cy="388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3" descr="D:\KBM-정애\014-Fullppt\PNG이미지\탭.png">
            <a:extLst>
              <a:ext uri="{FF2B5EF4-FFF2-40B4-BE49-F238E27FC236}">
                <a16:creationId xmlns:a16="http://schemas.microsoft.com/office/drawing/2014/main" xmlns="" id="{71CF212A-1782-49B4-8B17-581DC5D7B36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86552" y="1709312"/>
            <a:ext cx="3530683" cy="43485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D:\KBM-정애\014-Fullppt\PNG이미지\핸드폰.png">
            <a:extLst>
              <a:ext uri="{FF2B5EF4-FFF2-40B4-BE49-F238E27FC236}">
                <a16:creationId xmlns:a16="http://schemas.microsoft.com/office/drawing/2014/main" xmlns="" id="{F6F9CC28-F54D-4BAA-BF10-18180D05E3D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10310" y="3259539"/>
            <a:ext cx="2660906" cy="3223724"/>
          </a:xfrm>
          <a:prstGeom prst="rect">
            <a:avLst/>
          </a:prstGeom>
          <a:noFill/>
          <a:extLst>
            <a:ext uri="{909E8E84-426E-40DD-AFC4-6F175D3DCCD1}">
              <a14:hiddenFill xmlns:a14="http://schemas.microsoft.com/office/drawing/2010/main">
                <a:solidFill>
                  <a:srgbClr val="FFFFFF"/>
                </a:solidFill>
              </a14:hiddenFill>
            </a:ext>
          </a:extLst>
        </p:spPr>
      </p:pic>
      <p:sp>
        <p:nvSpPr>
          <p:cNvPr id="5" name="Picture Placeholder 2">
            <a:extLst>
              <a:ext uri="{FF2B5EF4-FFF2-40B4-BE49-F238E27FC236}">
                <a16:creationId xmlns:a16="http://schemas.microsoft.com/office/drawing/2014/main" xmlns="" id="{510637AE-6F5C-4D3F-9611-7DA2098A8029}"/>
              </a:ext>
            </a:extLst>
          </p:cNvPr>
          <p:cNvSpPr>
            <a:spLocks noGrp="1"/>
          </p:cNvSpPr>
          <p:nvPr>
            <p:ph type="pic" idx="12" hasCustomPrompt="1"/>
          </p:nvPr>
        </p:nvSpPr>
        <p:spPr>
          <a:xfrm>
            <a:off x="8660866" y="2158177"/>
            <a:ext cx="2449154" cy="3125523"/>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Insert Your Image</a:t>
            </a:r>
            <a:endParaRPr lang="ko-KR" altLang="en-US" dirty="0"/>
          </a:p>
        </p:txBody>
      </p:sp>
      <p:sp>
        <p:nvSpPr>
          <p:cNvPr id="6" name="Picture Placeholder 2">
            <a:extLst>
              <a:ext uri="{FF2B5EF4-FFF2-40B4-BE49-F238E27FC236}">
                <a16:creationId xmlns:a16="http://schemas.microsoft.com/office/drawing/2014/main" xmlns="" id="{296F8098-C31E-4554-BACD-2C26FE4D24E9}"/>
              </a:ext>
            </a:extLst>
          </p:cNvPr>
          <p:cNvSpPr>
            <a:spLocks noGrp="1"/>
          </p:cNvSpPr>
          <p:nvPr>
            <p:ph type="pic" idx="13" hasCustomPrompt="1"/>
          </p:nvPr>
        </p:nvSpPr>
        <p:spPr>
          <a:xfrm>
            <a:off x="6886576" y="3403405"/>
            <a:ext cx="1484457" cy="2330645"/>
          </a:xfrm>
          <a:prstGeom prst="rect">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1586650805"/>
      </p:ext>
    </p:extLst>
  </p:cSld>
  <p:clrMapOvr>
    <a:masterClrMapping/>
  </p:clrMapOvr>
  <p:extLst>
    <p:ext uri="{DCECCB84-F9BA-43D5-87BE-67443E8EF086}">
      <p15:sldGuideLst xmlns:p15="http://schemas.microsoft.com/office/powerpoint/2012/main" xmlns="">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1_Basic Layout">
    <p:bg>
      <p:bgPr>
        <a:solidFill>
          <a:schemeClr val="bg1"/>
        </a:solidFill>
        <a:effectLst/>
      </p:bgPr>
    </p:bg>
    <p:spTree>
      <p:nvGrpSpPr>
        <p:cNvPr id="1" name=""/>
        <p:cNvGrpSpPr/>
        <p:nvPr/>
      </p:nvGrpSpPr>
      <p:grpSpPr>
        <a:xfrm>
          <a:off x="0" y="0"/>
          <a:ext cx="0" cy="0"/>
          <a:chOff x="0" y="0"/>
          <a:chExt cx="0" cy="0"/>
        </a:xfrm>
      </p:grpSpPr>
      <p:sp>
        <p:nvSpPr>
          <p:cNvPr id="35" name="Freeform: Shape 34">
            <a:extLst>
              <a:ext uri="{FF2B5EF4-FFF2-40B4-BE49-F238E27FC236}">
                <a16:creationId xmlns:a16="http://schemas.microsoft.com/office/drawing/2014/main" xmlns="" id="{B8A14214-3597-4AAB-AF55-FEBB5D8FD698}"/>
              </a:ext>
            </a:extLst>
          </p:cNvPr>
          <p:cNvSpPr/>
          <p:nvPr userDrawn="1"/>
        </p:nvSpPr>
        <p:spPr>
          <a:xfrm>
            <a:off x="-20054" y="5839006"/>
            <a:ext cx="12212054" cy="794973"/>
          </a:xfrm>
          <a:custGeom>
            <a:avLst/>
            <a:gdLst>
              <a:gd name="connsiteX0" fmla="*/ 5579269 w 5600700"/>
              <a:gd name="connsiteY0" fmla="*/ 285274 h 409575"/>
              <a:gd name="connsiteX1" fmla="*/ 5285899 w 5600700"/>
              <a:gd name="connsiteY1" fmla="*/ 285274 h 409575"/>
              <a:gd name="connsiteX2" fmla="*/ 5258277 w 5600700"/>
              <a:gd name="connsiteY2" fmla="*/ 323374 h 409575"/>
              <a:gd name="connsiteX3" fmla="*/ 5218271 w 5600700"/>
              <a:gd name="connsiteY3" fmla="*/ 153829 h 409575"/>
              <a:gd name="connsiteX4" fmla="*/ 5182077 w 5600700"/>
              <a:gd name="connsiteY4" fmla="*/ 285274 h 409575"/>
              <a:gd name="connsiteX5" fmla="*/ 5094446 w 5600700"/>
              <a:gd name="connsiteY5" fmla="*/ 285274 h 409575"/>
              <a:gd name="connsiteX6" fmla="*/ 5081111 w 5600700"/>
              <a:gd name="connsiteY6" fmla="*/ 335756 h 409575"/>
              <a:gd name="connsiteX7" fmla="*/ 5057299 w 5600700"/>
              <a:gd name="connsiteY7" fmla="*/ 277654 h 409575"/>
              <a:gd name="connsiteX8" fmla="*/ 5033486 w 5600700"/>
              <a:gd name="connsiteY8" fmla="*/ 322421 h 409575"/>
              <a:gd name="connsiteX9" fmla="*/ 4988719 w 5600700"/>
              <a:gd name="connsiteY9" fmla="*/ 21431 h 409575"/>
              <a:gd name="connsiteX10" fmla="*/ 4933474 w 5600700"/>
              <a:gd name="connsiteY10" fmla="*/ 393859 h 409575"/>
              <a:gd name="connsiteX11" fmla="*/ 4912519 w 5600700"/>
              <a:gd name="connsiteY11" fmla="*/ 285274 h 409575"/>
              <a:gd name="connsiteX12" fmla="*/ 4686777 w 5600700"/>
              <a:gd name="connsiteY12" fmla="*/ 285274 h 409575"/>
              <a:gd name="connsiteX13" fmla="*/ 4657249 w 5600700"/>
              <a:gd name="connsiteY13" fmla="*/ 344329 h 409575"/>
              <a:gd name="connsiteX14" fmla="*/ 4622006 w 5600700"/>
              <a:gd name="connsiteY14" fmla="*/ 150971 h 409575"/>
              <a:gd name="connsiteX15" fmla="*/ 4579144 w 5600700"/>
              <a:gd name="connsiteY15" fmla="*/ 285274 h 409575"/>
              <a:gd name="connsiteX16" fmla="*/ 4492466 w 5600700"/>
              <a:gd name="connsiteY16" fmla="*/ 285274 h 409575"/>
              <a:gd name="connsiteX17" fmla="*/ 4467702 w 5600700"/>
              <a:gd name="connsiteY17" fmla="*/ 322421 h 409575"/>
              <a:gd name="connsiteX18" fmla="*/ 4441984 w 5600700"/>
              <a:gd name="connsiteY18" fmla="*/ 275749 h 409575"/>
              <a:gd name="connsiteX19" fmla="*/ 4408646 w 5600700"/>
              <a:gd name="connsiteY19" fmla="*/ 336709 h 409575"/>
              <a:gd name="connsiteX20" fmla="*/ 4377214 w 5600700"/>
              <a:gd name="connsiteY20" fmla="*/ 72866 h 409575"/>
              <a:gd name="connsiteX21" fmla="*/ 4336256 w 5600700"/>
              <a:gd name="connsiteY21" fmla="*/ 377666 h 409575"/>
              <a:gd name="connsiteX22" fmla="*/ 4308634 w 5600700"/>
              <a:gd name="connsiteY22" fmla="*/ 285274 h 409575"/>
              <a:gd name="connsiteX23" fmla="*/ 4239102 w 5600700"/>
              <a:gd name="connsiteY23" fmla="*/ 285274 h 409575"/>
              <a:gd name="connsiteX24" fmla="*/ 4210527 w 5600700"/>
              <a:gd name="connsiteY24" fmla="*/ 237649 h 409575"/>
              <a:gd name="connsiteX25" fmla="*/ 4178141 w 5600700"/>
              <a:gd name="connsiteY25" fmla="*/ 285274 h 409575"/>
              <a:gd name="connsiteX26" fmla="*/ 21431 w 5600700"/>
              <a:gd name="connsiteY26" fmla="*/ 285274 h 409575"/>
              <a:gd name="connsiteX0" fmla="*/ 5196891 w 5196891"/>
              <a:gd name="connsiteY0" fmla="*/ 263843 h 372428"/>
              <a:gd name="connsiteX1" fmla="*/ 4903521 w 5196891"/>
              <a:gd name="connsiteY1" fmla="*/ 263843 h 372428"/>
              <a:gd name="connsiteX2" fmla="*/ 4875899 w 5196891"/>
              <a:gd name="connsiteY2" fmla="*/ 301943 h 372428"/>
              <a:gd name="connsiteX3" fmla="*/ 4835893 w 5196891"/>
              <a:gd name="connsiteY3" fmla="*/ 132398 h 372428"/>
              <a:gd name="connsiteX4" fmla="*/ 4799699 w 5196891"/>
              <a:gd name="connsiteY4" fmla="*/ 263843 h 372428"/>
              <a:gd name="connsiteX5" fmla="*/ 4712068 w 5196891"/>
              <a:gd name="connsiteY5" fmla="*/ 263843 h 372428"/>
              <a:gd name="connsiteX6" fmla="*/ 4698733 w 5196891"/>
              <a:gd name="connsiteY6" fmla="*/ 314325 h 372428"/>
              <a:gd name="connsiteX7" fmla="*/ 4674921 w 5196891"/>
              <a:gd name="connsiteY7" fmla="*/ 256223 h 372428"/>
              <a:gd name="connsiteX8" fmla="*/ 4651108 w 5196891"/>
              <a:gd name="connsiteY8" fmla="*/ 300990 h 372428"/>
              <a:gd name="connsiteX9" fmla="*/ 4606341 w 5196891"/>
              <a:gd name="connsiteY9" fmla="*/ 0 h 372428"/>
              <a:gd name="connsiteX10" fmla="*/ 4551096 w 5196891"/>
              <a:gd name="connsiteY10" fmla="*/ 372428 h 372428"/>
              <a:gd name="connsiteX11" fmla="*/ 4530141 w 5196891"/>
              <a:gd name="connsiteY11" fmla="*/ 263843 h 372428"/>
              <a:gd name="connsiteX12" fmla="*/ 4304399 w 5196891"/>
              <a:gd name="connsiteY12" fmla="*/ 263843 h 372428"/>
              <a:gd name="connsiteX13" fmla="*/ 4274871 w 5196891"/>
              <a:gd name="connsiteY13" fmla="*/ 322898 h 372428"/>
              <a:gd name="connsiteX14" fmla="*/ 4239628 w 5196891"/>
              <a:gd name="connsiteY14" fmla="*/ 129540 h 372428"/>
              <a:gd name="connsiteX15" fmla="*/ 4196766 w 5196891"/>
              <a:gd name="connsiteY15" fmla="*/ 263843 h 372428"/>
              <a:gd name="connsiteX16" fmla="*/ 4110088 w 5196891"/>
              <a:gd name="connsiteY16" fmla="*/ 263843 h 372428"/>
              <a:gd name="connsiteX17" fmla="*/ 4085324 w 5196891"/>
              <a:gd name="connsiteY17" fmla="*/ 300990 h 372428"/>
              <a:gd name="connsiteX18" fmla="*/ 4059606 w 5196891"/>
              <a:gd name="connsiteY18" fmla="*/ 254318 h 372428"/>
              <a:gd name="connsiteX19" fmla="*/ 4026268 w 5196891"/>
              <a:gd name="connsiteY19" fmla="*/ 315278 h 372428"/>
              <a:gd name="connsiteX20" fmla="*/ 3994836 w 5196891"/>
              <a:gd name="connsiteY20" fmla="*/ 51435 h 372428"/>
              <a:gd name="connsiteX21" fmla="*/ 3953878 w 5196891"/>
              <a:gd name="connsiteY21" fmla="*/ 356235 h 372428"/>
              <a:gd name="connsiteX22" fmla="*/ 3926256 w 5196891"/>
              <a:gd name="connsiteY22" fmla="*/ 263843 h 372428"/>
              <a:gd name="connsiteX23" fmla="*/ 3856724 w 5196891"/>
              <a:gd name="connsiteY23" fmla="*/ 263843 h 372428"/>
              <a:gd name="connsiteX24" fmla="*/ 3828149 w 5196891"/>
              <a:gd name="connsiteY24" fmla="*/ 216218 h 372428"/>
              <a:gd name="connsiteX25" fmla="*/ 3795763 w 5196891"/>
              <a:gd name="connsiteY25" fmla="*/ 263843 h 372428"/>
              <a:gd name="connsiteX26" fmla="*/ 0 w 5196891"/>
              <a:gd name="connsiteY26" fmla="*/ 275874 h 372428"/>
              <a:gd name="connsiteX0" fmla="*/ 5196891 w 5196891"/>
              <a:gd name="connsiteY0" fmla="*/ 263843 h 372428"/>
              <a:gd name="connsiteX1" fmla="*/ 4903521 w 5196891"/>
              <a:gd name="connsiteY1" fmla="*/ 263843 h 372428"/>
              <a:gd name="connsiteX2" fmla="*/ 4875899 w 5196891"/>
              <a:gd name="connsiteY2" fmla="*/ 301943 h 372428"/>
              <a:gd name="connsiteX3" fmla="*/ 4835893 w 5196891"/>
              <a:gd name="connsiteY3" fmla="*/ 132398 h 372428"/>
              <a:gd name="connsiteX4" fmla="*/ 4799699 w 5196891"/>
              <a:gd name="connsiteY4" fmla="*/ 263843 h 372428"/>
              <a:gd name="connsiteX5" fmla="*/ 4712068 w 5196891"/>
              <a:gd name="connsiteY5" fmla="*/ 263843 h 372428"/>
              <a:gd name="connsiteX6" fmla="*/ 4698733 w 5196891"/>
              <a:gd name="connsiteY6" fmla="*/ 314325 h 372428"/>
              <a:gd name="connsiteX7" fmla="*/ 4674921 w 5196891"/>
              <a:gd name="connsiteY7" fmla="*/ 256223 h 372428"/>
              <a:gd name="connsiteX8" fmla="*/ 4651108 w 5196891"/>
              <a:gd name="connsiteY8" fmla="*/ 300990 h 372428"/>
              <a:gd name="connsiteX9" fmla="*/ 4606341 w 5196891"/>
              <a:gd name="connsiteY9" fmla="*/ 0 h 372428"/>
              <a:gd name="connsiteX10" fmla="*/ 4551096 w 5196891"/>
              <a:gd name="connsiteY10" fmla="*/ 372428 h 372428"/>
              <a:gd name="connsiteX11" fmla="*/ 4530141 w 5196891"/>
              <a:gd name="connsiteY11" fmla="*/ 263843 h 372428"/>
              <a:gd name="connsiteX12" fmla="*/ 4304399 w 5196891"/>
              <a:gd name="connsiteY12" fmla="*/ 263843 h 372428"/>
              <a:gd name="connsiteX13" fmla="*/ 4274871 w 5196891"/>
              <a:gd name="connsiteY13" fmla="*/ 322898 h 372428"/>
              <a:gd name="connsiteX14" fmla="*/ 4239628 w 5196891"/>
              <a:gd name="connsiteY14" fmla="*/ 129540 h 372428"/>
              <a:gd name="connsiteX15" fmla="*/ 4196766 w 5196891"/>
              <a:gd name="connsiteY15" fmla="*/ 263843 h 372428"/>
              <a:gd name="connsiteX16" fmla="*/ 4110088 w 5196891"/>
              <a:gd name="connsiteY16" fmla="*/ 263843 h 372428"/>
              <a:gd name="connsiteX17" fmla="*/ 4085324 w 5196891"/>
              <a:gd name="connsiteY17" fmla="*/ 300990 h 372428"/>
              <a:gd name="connsiteX18" fmla="*/ 4059606 w 5196891"/>
              <a:gd name="connsiteY18" fmla="*/ 254318 h 372428"/>
              <a:gd name="connsiteX19" fmla="*/ 4026268 w 5196891"/>
              <a:gd name="connsiteY19" fmla="*/ 315278 h 372428"/>
              <a:gd name="connsiteX20" fmla="*/ 3994836 w 5196891"/>
              <a:gd name="connsiteY20" fmla="*/ 51435 h 372428"/>
              <a:gd name="connsiteX21" fmla="*/ 3953878 w 5196891"/>
              <a:gd name="connsiteY21" fmla="*/ 356235 h 372428"/>
              <a:gd name="connsiteX22" fmla="*/ 3926256 w 5196891"/>
              <a:gd name="connsiteY22" fmla="*/ 263843 h 372428"/>
              <a:gd name="connsiteX23" fmla="*/ 3856724 w 5196891"/>
              <a:gd name="connsiteY23" fmla="*/ 263843 h 372428"/>
              <a:gd name="connsiteX24" fmla="*/ 3828149 w 5196891"/>
              <a:gd name="connsiteY24" fmla="*/ 216218 h 372428"/>
              <a:gd name="connsiteX25" fmla="*/ 3795763 w 5196891"/>
              <a:gd name="connsiteY25" fmla="*/ 263843 h 372428"/>
              <a:gd name="connsiteX26" fmla="*/ 0 w 5196891"/>
              <a:gd name="connsiteY26" fmla="*/ 263842 h 372428"/>
              <a:gd name="connsiteX0" fmla="*/ 5698543 w 5698543"/>
              <a:gd name="connsiteY0" fmla="*/ 252570 h 372428"/>
              <a:gd name="connsiteX1" fmla="*/ 4903521 w 5698543"/>
              <a:gd name="connsiteY1" fmla="*/ 263843 h 372428"/>
              <a:gd name="connsiteX2" fmla="*/ 4875899 w 5698543"/>
              <a:gd name="connsiteY2" fmla="*/ 301943 h 372428"/>
              <a:gd name="connsiteX3" fmla="*/ 4835893 w 5698543"/>
              <a:gd name="connsiteY3" fmla="*/ 132398 h 372428"/>
              <a:gd name="connsiteX4" fmla="*/ 4799699 w 5698543"/>
              <a:gd name="connsiteY4" fmla="*/ 263843 h 372428"/>
              <a:gd name="connsiteX5" fmla="*/ 4712068 w 5698543"/>
              <a:gd name="connsiteY5" fmla="*/ 263843 h 372428"/>
              <a:gd name="connsiteX6" fmla="*/ 4698733 w 5698543"/>
              <a:gd name="connsiteY6" fmla="*/ 314325 h 372428"/>
              <a:gd name="connsiteX7" fmla="*/ 4674921 w 5698543"/>
              <a:gd name="connsiteY7" fmla="*/ 256223 h 372428"/>
              <a:gd name="connsiteX8" fmla="*/ 4651108 w 5698543"/>
              <a:gd name="connsiteY8" fmla="*/ 300990 h 372428"/>
              <a:gd name="connsiteX9" fmla="*/ 4606341 w 5698543"/>
              <a:gd name="connsiteY9" fmla="*/ 0 h 372428"/>
              <a:gd name="connsiteX10" fmla="*/ 4551096 w 5698543"/>
              <a:gd name="connsiteY10" fmla="*/ 372428 h 372428"/>
              <a:gd name="connsiteX11" fmla="*/ 4530141 w 5698543"/>
              <a:gd name="connsiteY11" fmla="*/ 263843 h 372428"/>
              <a:gd name="connsiteX12" fmla="*/ 4304399 w 5698543"/>
              <a:gd name="connsiteY12" fmla="*/ 263843 h 372428"/>
              <a:gd name="connsiteX13" fmla="*/ 4274871 w 5698543"/>
              <a:gd name="connsiteY13" fmla="*/ 322898 h 372428"/>
              <a:gd name="connsiteX14" fmla="*/ 4239628 w 5698543"/>
              <a:gd name="connsiteY14" fmla="*/ 129540 h 372428"/>
              <a:gd name="connsiteX15" fmla="*/ 4196766 w 5698543"/>
              <a:gd name="connsiteY15" fmla="*/ 263843 h 372428"/>
              <a:gd name="connsiteX16" fmla="*/ 4110088 w 5698543"/>
              <a:gd name="connsiteY16" fmla="*/ 263843 h 372428"/>
              <a:gd name="connsiteX17" fmla="*/ 4085324 w 5698543"/>
              <a:gd name="connsiteY17" fmla="*/ 300990 h 372428"/>
              <a:gd name="connsiteX18" fmla="*/ 4059606 w 5698543"/>
              <a:gd name="connsiteY18" fmla="*/ 254318 h 372428"/>
              <a:gd name="connsiteX19" fmla="*/ 4026268 w 5698543"/>
              <a:gd name="connsiteY19" fmla="*/ 315278 h 372428"/>
              <a:gd name="connsiteX20" fmla="*/ 3994836 w 5698543"/>
              <a:gd name="connsiteY20" fmla="*/ 51435 h 372428"/>
              <a:gd name="connsiteX21" fmla="*/ 3953878 w 5698543"/>
              <a:gd name="connsiteY21" fmla="*/ 356235 h 372428"/>
              <a:gd name="connsiteX22" fmla="*/ 3926256 w 5698543"/>
              <a:gd name="connsiteY22" fmla="*/ 263843 h 372428"/>
              <a:gd name="connsiteX23" fmla="*/ 3856724 w 5698543"/>
              <a:gd name="connsiteY23" fmla="*/ 263843 h 372428"/>
              <a:gd name="connsiteX24" fmla="*/ 3828149 w 5698543"/>
              <a:gd name="connsiteY24" fmla="*/ 216218 h 372428"/>
              <a:gd name="connsiteX25" fmla="*/ 3795763 w 5698543"/>
              <a:gd name="connsiteY25" fmla="*/ 263843 h 372428"/>
              <a:gd name="connsiteX26" fmla="*/ 0 w 5698543"/>
              <a:gd name="connsiteY26" fmla="*/ 263842 h 372428"/>
              <a:gd name="connsiteX0" fmla="*/ 5506901 w 5506901"/>
              <a:gd name="connsiteY0" fmla="*/ 252570 h 372428"/>
              <a:gd name="connsiteX1" fmla="*/ 4903521 w 5506901"/>
              <a:gd name="connsiteY1" fmla="*/ 263843 h 372428"/>
              <a:gd name="connsiteX2" fmla="*/ 4875899 w 5506901"/>
              <a:gd name="connsiteY2" fmla="*/ 301943 h 372428"/>
              <a:gd name="connsiteX3" fmla="*/ 4835893 w 5506901"/>
              <a:gd name="connsiteY3" fmla="*/ 132398 h 372428"/>
              <a:gd name="connsiteX4" fmla="*/ 4799699 w 5506901"/>
              <a:gd name="connsiteY4" fmla="*/ 263843 h 372428"/>
              <a:gd name="connsiteX5" fmla="*/ 4712068 w 5506901"/>
              <a:gd name="connsiteY5" fmla="*/ 263843 h 372428"/>
              <a:gd name="connsiteX6" fmla="*/ 4698733 w 5506901"/>
              <a:gd name="connsiteY6" fmla="*/ 314325 h 372428"/>
              <a:gd name="connsiteX7" fmla="*/ 4674921 w 5506901"/>
              <a:gd name="connsiteY7" fmla="*/ 256223 h 372428"/>
              <a:gd name="connsiteX8" fmla="*/ 4651108 w 5506901"/>
              <a:gd name="connsiteY8" fmla="*/ 300990 h 372428"/>
              <a:gd name="connsiteX9" fmla="*/ 4606341 w 5506901"/>
              <a:gd name="connsiteY9" fmla="*/ 0 h 372428"/>
              <a:gd name="connsiteX10" fmla="*/ 4551096 w 5506901"/>
              <a:gd name="connsiteY10" fmla="*/ 372428 h 372428"/>
              <a:gd name="connsiteX11" fmla="*/ 4530141 w 5506901"/>
              <a:gd name="connsiteY11" fmla="*/ 263843 h 372428"/>
              <a:gd name="connsiteX12" fmla="*/ 4304399 w 5506901"/>
              <a:gd name="connsiteY12" fmla="*/ 263843 h 372428"/>
              <a:gd name="connsiteX13" fmla="*/ 4274871 w 5506901"/>
              <a:gd name="connsiteY13" fmla="*/ 322898 h 372428"/>
              <a:gd name="connsiteX14" fmla="*/ 4239628 w 5506901"/>
              <a:gd name="connsiteY14" fmla="*/ 129540 h 372428"/>
              <a:gd name="connsiteX15" fmla="*/ 4196766 w 5506901"/>
              <a:gd name="connsiteY15" fmla="*/ 263843 h 372428"/>
              <a:gd name="connsiteX16" fmla="*/ 4110088 w 5506901"/>
              <a:gd name="connsiteY16" fmla="*/ 263843 h 372428"/>
              <a:gd name="connsiteX17" fmla="*/ 4085324 w 5506901"/>
              <a:gd name="connsiteY17" fmla="*/ 300990 h 372428"/>
              <a:gd name="connsiteX18" fmla="*/ 4059606 w 5506901"/>
              <a:gd name="connsiteY18" fmla="*/ 254318 h 372428"/>
              <a:gd name="connsiteX19" fmla="*/ 4026268 w 5506901"/>
              <a:gd name="connsiteY19" fmla="*/ 315278 h 372428"/>
              <a:gd name="connsiteX20" fmla="*/ 3994836 w 5506901"/>
              <a:gd name="connsiteY20" fmla="*/ 51435 h 372428"/>
              <a:gd name="connsiteX21" fmla="*/ 3953878 w 5506901"/>
              <a:gd name="connsiteY21" fmla="*/ 356235 h 372428"/>
              <a:gd name="connsiteX22" fmla="*/ 3926256 w 5506901"/>
              <a:gd name="connsiteY22" fmla="*/ 263843 h 372428"/>
              <a:gd name="connsiteX23" fmla="*/ 3856724 w 5506901"/>
              <a:gd name="connsiteY23" fmla="*/ 263843 h 372428"/>
              <a:gd name="connsiteX24" fmla="*/ 3828149 w 5506901"/>
              <a:gd name="connsiteY24" fmla="*/ 216218 h 372428"/>
              <a:gd name="connsiteX25" fmla="*/ 3795763 w 5506901"/>
              <a:gd name="connsiteY25" fmla="*/ 263843 h 372428"/>
              <a:gd name="connsiteX26" fmla="*/ 0 w 5506901"/>
              <a:gd name="connsiteY26" fmla="*/ 263842 h 372428"/>
              <a:gd name="connsiteX0" fmla="*/ 5721090 w 5721090"/>
              <a:gd name="connsiteY0" fmla="*/ 252570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58205 h 372428"/>
              <a:gd name="connsiteX0" fmla="*/ 5721090 w 5721090"/>
              <a:gd name="connsiteY0" fmla="*/ 258207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58205 h 372428"/>
              <a:gd name="connsiteX0" fmla="*/ 5721090 w 5721090"/>
              <a:gd name="connsiteY0" fmla="*/ 258207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69478 h 3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21090" h="372428">
                <a:moveTo>
                  <a:pt x="5721090" y="258207"/>
                </a:moveTo>
                <a:lnTo>
                  <a:pt x="5117710" y="263843"/>
                </a:lnTo>
                <a:lnTo>
                  <a:pt x="5090088" y="301943"/>
                </a:lnTo>
                <a:lnTo>
                  <a:pt x="5050082" y="132398"/>
                </a:lnTo>
                <a:lnTo>
                  <a:pt x="5013888" y="263843"/>
                </a:lnTo>
                <a:lnTo>
                  <a:pt x="4926257" y="263843"/>
                </a:lnTo>
                <a:lnTo>
                  <a:pt x="4912922" y="314325"/>
                </a:lnTo>
                <a:lnTo>
                  <a:pt x="4889110" y="256223"/>
                </a:lnTo>
                <a:lnTo>
                  <a:pt x="4865297" y="300990"/>
                </a:lnTo>
                <a:lnTo>
                  <a:pt x="4820530" y="0"/>
                </a:lnTo>
                <a:lnTo>
                  <a:pt x="4765285" y="372428"/>
                </a:lnTo>
                <a:lnTo>
                  <a:pt x="4744330" y="263843"/>
                </a:lnTo>
                <a:lnTo>
                  <a:pt x="4518588" y="263843"/>
                </a:lnTo>
                <a:lnTo>
                  <a:pt x="4489060" y="322898"/>
                </a:lnTo>
                <a:lnTo>
                  <a:pt x="4453817" y="129540"/>
                </a:lnTo>
                <a:lnTo>
                  <a:pt x="4410955" y="263843"/>
                </a:lnTo>
                <a:lnTo>
                  <a:pt x="4324277" y="263843"/>
                </a:lnTo>
                <a:lnTo>
                  <a:pt x="4299513" y="300990"/>
                </a:lnTo>
                <a:lnTo>
                  <a:pt x="4273795" y="254318"/>
                </a:lnTo>
                <a:lnTo>
                  <a:pt x="4240457" y="315278"/>
                </a:lnTo>
                <a:lnTo>
                  <a:pt x="4209025" y="51435"/>
                </a:lnTo>
                <a:lnTo>
                  <a:pt x="4168067" y="356235"/>
                </a:lnTo>
                <a:lnTo>
                  <a:pt x="4140445" y="263843"/>
                </a:lnTo>
                <a:lnTo>
                  <a:pt x="4070913" y="263843"/>
                </a:lnTo>
                <a:lnTo>
                  <a:pt x="4042338" y="216218"/>
                </a:lnTo>
                <a:lnTo>
                  <a:pt x="4009952" y="263843"/>
                </a:lnTo>
                <a:lnTo>
                  <a:pt x="0" y="269478"/>
                </a:lnTo>
              </a:path>
            </a:pathLst>
          </a:custGeom>
          <a:noFill/>
          <a:ln w="28575" cap="rnd">
            <a:solidFill>
              <a:schemeClr val="accent1"/>
            </a:solidFill>
            <a:prstDash val="solid"/>
            <a:round/>
          </a:ln>
        </p:spPr>
        <p:txBody>
          <a:bodyPr rtlCol="0" anchor="ctr"/>
          <a:lstStyle/>
          <a:p>
            <a:endParaRPr lang="en-US"/>
          </a:p>
        </p:txBody>
      </p:sp>
      <p:sp>
        <p:nvSpPr>
          <p:cNvPr id="39" name="Right Triangle 38">
            <a:extLst>
              <a:ext uri="{FF2B5EF4-FFF2-40B4-BE49-F238E27FC236}">
                <a16:creationId xmlns:a16="http://schemas.microsoft.com/office/drawing/2014/main" xmlns="" id="{59C2908B-EF34-4DBE-978B-CDE49FAFD52F}"/>
              </a:ext>
            </a:extLst>
          </p:cNvPr>
          <p:cNvSpPr/>
          <p:nvPr userDrawn="1"/>
        </p:nvSpPr>
        <p:spPr>
          <a:xfrm>
            <a:off x="-10152" y="0"/>
            <a:ext cx="1546199" cy="6858000"/>
          </a:xfrm>
          <a:prstGeom prst="r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0" name="Right Triangle 39">
            <a:extLst>
              <a:ext uri="{FF2B5EF4-FFF2-40B4-BE49-F238E27FC236}">
                <a16:creationId xmlns:a16="http://schemas.microsoft.com/office/drawing/2014/main" xmlns="" id="{C97F2111-7610-4948-BBB5-C217E5C6D28C}"/>
              </a:ext>
            </a:extLst>
          </p:cNvPr>
          <p:cNvSpPr/>
          <p:nvPr userDrawn="1"/>
        </p:nvSpPr>
        <p:spPr>
          <a:xfrm flipH="1" flipV="1">
            <a:off x="11280575" y="7851"/>
            <a:ext cx="911424" cy="6858000"/>
          </a:xfrm>
          <a:prstGeom prst="r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Text Placeholder 9">
            <a:extLst>
              <a:ext uri="{FF2B5EF4-FFF2-40B4-BE49-F238E27FC236}">
                <a16:creationId xmlns:a16="http://schemas.microsoft.com/office/drawing/2014/main" xmlns="" id="{C83338C7-ECF6-4EFC-91D6-98F67A23BD5B}"/>
              </a:ext>
            </a:extLst>
          </p:cNvPr>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BASIC LAYOUT</a:t>
            </a:r>
          </a:p>
        </p:txBody>
      </p:sp>
      <p:sp>
        <p:nvSpPr>
          <p:cNvPr id="36" name="막힌 원호 14">
            <a:extLst>
              <a:ext uri="{FF2B5EF4-FFF2-40B4-BE49-F238E27FC236}">
                <a16:creationId xmlns:a16="http://schemas.microsoft.com/office/drawing/2014/main" xmlns="" id="{539A5EA1-4E21-44E3-A228-3288DE217C72}"/>
              </a:ext>
            </a:extLst>
          </p:cNvPr>
          <p:cNvSpPr/>
          <p:nvPr userDrawn="1"/>
        </p:nvSpPr>
        <p:spPr>
          <a:xfrm>
            <a:off x="4329288" y="1661219"/>
            <a:ext cx="3960000" cy="3960000"/>
          </a:xfrm>
          <a:prstGeom prst="blockArc">
            <a:avLst>
              <a:gd name="adj1" fmla="val 13812800"/>
              <a:gd name="adj2" fmla="val 7644143"/>
              <a:gd name="adj3" fmla="val 1399"/>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pic>
        <p:nvPicPr>
          <p:cNvPr id="37" name="그림 12">
            <a:extLst>
              <a:ext uri="{FF2B5EF4-FFF2-40B4-BE49-F238E27FC236}">
                <a16:creationId xmlns:a16="http://schemas.microsoft.com/office/drawing/2014/main" xmlns="" id="{1444ED57-CCCA-4F16-9ED6-C28E39B78D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0053" y="2081880"/>
            <a:ext cx="4505652" cy="3937837"/>
          </a:xfrm>
          <a:prstGeom prst="rect">
            <a:avLst/>
          </a:prstGeom>
        </p:spPr>
      </p:pic>
      <p:sp>
        <p:nvSpPr>
          <p:cNvPr id="38" name="그림 개체 틀 2">
            <a:extLst>
              <a:ext uri="{FF2B5EF4-FFF2-40B4-BE49-F238E27FC236}">
                <a16:creationId xmlns:a16="http://schemas.microsoft.com/office/drawing/2014/main" xmlns="" id="{56022160-776B-46D5-93AB-4105F49135C0}"/>
              </a:ext>
            </a:extLst>
          </p:cNvPr>
          <p:cNvSpPr>
            <a:spLocks noGrp="1"/>
          </p:cNvSpPr>
          <p:nvPr>
            <p:ph type="pic" sz="quarter" idx="42" hasCustomPrompt="1"/>
          </p:nvPr>
        </p:nvSpPr>
        <p:spPr>
          <a:xfrm>
            <a:off x="1063434" y="2240518"/>
            <a:ext cx="4198167" cy="2460474"/>
          </a:xfrm>
          <a:prstGeom prst="rect">
            <a:avLst/>
          </a:prstGeom>
          <a:solidFill>
            <a:schemeClr val="bg1">
              <a:lumMod val="95000"/>
            </a:schemeClr>
          </a:solidFill>
        </p:spPr>
        <p:txBody>
          <a:bodyPr tIns="540000" anchor="ctr"/>
          <a:lstStyle>
            <a:lvl1pPr marL="0" indent="0" algn="ctr">
              <a:buNone/>
              <a:defRPr sz="1200">
                <a:latin typeface="+mn-lt"/>
                <a:cs typeface="Arial" pitchFamily="34" charset="0"/>
              </a:defRPr>
            </a:lvl1pPr>
          </a:lstStyle>
          <a:p>
            <a:r>
              <a:rPr lang="en-US" altLang="ko-KR" dirty="0"/>
              <a:t>Insert Your Image</a:t>
            </a:r>
            <a:endParaRPr lang="ko-KR" altLang="en-US" dirty="0"/>
          </a:p>
        </p:txBody>
      </p:sp>
    </p:spTree>
    <p:extLst>
      <p:ext uri="{BB962C8B-B14F-4D97-AF65-F5344CB8AC3E}">
        <p14:creationId xmlns:p14="http://schemas.microsoft.com/office/powerpoint/2010/main" val="3887817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PNG set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245392"/>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PNG &amp; Shapes Layout</a:t>
            </a:r>
          </a:p>
        </p:txBody>
      </p:sp>
    </p:spTree>
    <p:extLst>
      <p:ext uri="{BB962C8B-B14F-4D97-AF65-F5344CB8AC3E}">
        <p14:creationId xmlns:p14="http://schemas.microsoft.com/office/powerpoint/2010/main" val="26387539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Icon sets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123478"/>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pPr lvl="0"/>
            <a:r>
              <a:rPr lang="en-US" altLang="ko-KR" dirty="0"/>
              <a:t>Icon Sets Layout</a:t>
            </a:r>
          </a:p>
        </p:txBody>
      </p:sp>
      <p:sp>
        <p:nvSpPr>
          <p:cNvPr id="3" name="Rounded Rectangle 2"/>
          <p:cNvSpPr/>
          <p:nvPr userDrawn="1"/>
        </p:nvSpPr>
        <p:spPr>
          <a:xfrm>
            <a:off x="354010" y="1131591"/>
            <a:ext cx="3560767" cy="5402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4" name="Rounded Rectangle 3"/>
          <p:cNvSpPr/>
          <p:nvPr userDrawn="1"/>
        </p:nvSpPr>
        <p:spPr>
          <a:xfrm>
            <a:off x="531933" y="1347500"/>
            <a:ext cx="153868" cy="5015200"/>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bg1"/>
              </a:solidFill>
            </a:endParaRPr>
          </a:p>
        </p:txBody>
      </p:sp>
      <p:sp>
        <p:nvSpPr>
          <p:cNvPr id="5" name="Half Frame 4"/>
          <p:cNvSpPr/>
          <p:nvPr userDrawn="1"/>
        </p:nvSpPr>
        <p:spPr>
          <a:xfrm rot="5400000">
            <a:off x="3057177" y="1276653"/>
            <a:ext cx="685849" cy="685148"/>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solidFill>
                <a:schemeClr val="tx1">
                  <a:lumMod val="85000"/>
                  <a:lumOff val="15000"/>
                </a:schemeClr>
              </a:solidFill>
            </a:endParaRPr>
          </a:p>
        </p:txBody>
      </p:sp>
      <p:sp>
        <p:nvSpPr>
          <p:cNvPr id="58" name="TextBox 57">
            <a:extLst>
              <a:ext uri="{FF2B5EF4-FFF2-40B4-BE49-F238E27FC236}">
                <a16:creationId xmlns:a16="http://schemas.microsoft.com/office/drawing/2014/main" xmlns="" id="{5644E8BB-F13A-4AE0-889E-633DE4143787}"/>
              </a:ext>
            </a:extLst>
          </p:cNvPr>
          <p:cNvSpPr txBox="1"/>
          <p:nvPr userDrawn="1"/>
        </p:nvSpPr>
        <p:spPr>
          <a:xfrm>
            <a:off x="711704" y="1637214"/>
            <a:ext cx="2232248" cy="523220"/>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Resize without losing quality</a:t>
            </a:r>
            <a:endParaRPr lang="ko-KR" altLang="en-US" sz="1400" b="1" dirty="0">
              <a:solidFill>
                <a:schemeClr val="bg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xmlns="" id="{F2CE2B8B-ED32-491A-95B2-D28904BC432C}"/>
              </a:ext>
            </a:extLst>
          </p:cNvPr>
          <p:cNvSpPr txBox="1"/>
          <p:nvPr userDrawn="1"/>
        </p:nvSpPr>
        <p:spPr>
          <a:xfrm>
            <a:off x="711704" y="2127463"/>
            <a:ext cx="2232248" cy="738664"/>
          </a:xfrm>
          <a:prstGeom prst="rect">
            <a:avLst/>
          </a:prstGeom>
          <a:noFill/>
        </p:spPr>
        <p:txBody>
          <a:bodyPr wrap="square" rtlCol="0" anchor="ctr">
            <a:spAutoFit/>
          </a:bodyPr>
          <a:lstStyle/>
          <a:p>
            <a:r>
              <a:rPr lang="en-US" altLang="ko-KR" sz="1400" b="1" dirty="0">
                <a:solidFill>
                  <a:schemeClr val="bg1"/>
                </a:solidFill>
                <a:latin typeface="Arial" pitchFamily="34" charset="0"/>
                <a:cs typeface="Arial" pitchFamily="34" charset="0"/>
              </a:rPr>
              <a:t>You can Change Fill Color &amp;</a:t>
            </a:r>
          </a:p>
          <a:p>
            <a:r>
              <a:rPr lang="en-US" altLang="ko-KR" sz="1400" b="1" dirty="0">
                <a:solidFill>
                  <a:schemeClr val="bg1"/>
                </a:solidFill>
                <a:latin typeface="Arial" pitchFamily="34" charset="0"/>
                <a:cs typeface="Arial" pitchFamily="34" charset="0"/>
              </a:rPr>
              <a:t>Line Color</a:t>
            </a:r>
            <a:endParaRPr lang="ko-KR" altLang="en-US" sz="1400" b="1" dirty="0">
              <a:solidFill>
                <a:schemeClr val="bg1"/>
              </a:solidFill>
              <a:latin typeface="Arial" pitchFamily="34" charset="0"/>
              <a:cs typeface="Arial" pitchFamily="34" charset="0"/>
            </a:endParaRPr>
          </a:p>
        </p:txBody>
      </p:sp>
      <p:sp>
        <p:nvSpPr>
          <p:cNvPr id="60" name="TextBox 59">
            <a:extLst>
              <a:ext uri="{FF2B5EF4-FFF2-40B4-BE49-F238E27FC236}">
                <a16:creationId xmlns:a16="http://schemas.microsoft.com/office/drawing/2014/main" xmlns="" id="{962A52DF-2523-4479-BFA3-B5ACE9887E1C}"/>
              </a:ext>
            </a:extLst>
          </p:cNvPr>
          <p:cNvSpPr txBox="1"/>
          <p:nvPr userDrawn="1"/>
        </p:nvSpPr>
        <p:spPr>
          <a:xfrm>
            <a:off x="721229" y="5808438"/>
            <a:ext cx="2232000" cy="307777"/>
          </a:xfrm>
          <a:prstGeom prst="rect">
            <a:avLst/>
          </a:prstGeom>
          <a:noFill/>
        </p:spPr>
        <p:txBody>
          <a:bodyPr wrap="square" rtlCol="0" anchor="ctr">
            <a:spAutoFit/>
          </a:bodyPr>
          <a:lstStyle/>
          <a:p>
            <a:r>
              <a:rPr lang="en-US" altLang="ko-KR" sz="1400" dirty="0">
                <a:solidFill>
                  <a:schemeClr val="bg1"/>
                </a:solidFill>
                <a:latin typeface="Arial" pitchFamily="34" charset="0"/>
                <a:cs typeface="Arial" pitchFamily="34" charset="0"/>
              </a:rPr>
              <a:t>www.allppt.com</a:t>
            </a:r>
            <a:endParaRPr lang="ko-KR" altLang="en-US" sz="1400" dirty="0">
              <a:solidFill>
                <a:schemeClr val="bg1"/>
              </a:solidFill>
              <a:latin typeface="Arial" pitchFamily="34" charset="0"/>
              <a:cs typeface="Arial" pitchFamily="34" charset="0"/>
            </a:endParaRPr>
          </a:p>
        </p:txBody>
      </p:sp>
      <p:sp>
        <p:nvSpPr>
          <p:cNvPr id="61" name="TextBox 60">
            <a:extLst>
              <a:ext uri="{FF2B5EF4-FFF2-40B4-BE49-F238E27FC236}">
                <a16:creationId xmlns:a16="http://schemas.microsoft.com/office/drawing/2014/main" xmlns="" id="{BAAC314F-E96A-4408-95DE-A70E9ED054AF}"/>
              </a:ext>
            </a:extLst>
          </p:cNvPr>
          <p:cNvSpPr txBox="1"/>
          <p:nvPr userDrawn="1"/>
        </p:nvSpPr>
        <p:spPr>
          <a:xfrm>
            <a:off x="721229" y="4450324"/>
            <a:ext cx="2717296" cy="1384995"/>
          </a:xfrm>
          <a:prstGeom prst="rect">
            <a:avLst/>
          </a:prstGeom>
          <a:noFill/>
        </p:spPr>
        <p:txBody>
          <a:bodyPr wrap="square" rtlCol="0" anchor="ctr">
            <a:spAutoFit/>
          </a:bodyPr>
          <a:lstStyle/>
          <a:p>
            <a:r>
              <a:rPr lang="en-US" altLang="ko-KR" sz="2800" b="1" dirty="0">
                <a:solidFill>
                  <a:schemeClr val="bg1"/>
                </a:solidFill>
                <a:latin typeface="+mn-lt"/>
                <a:ea typeface="+mn-ea"/>
                <a:cs typeface="Arial" pitchFamily="34" charset="0"/>
              </a:rPr>
              <a:t>FREE </a:t>
            </a:r>
          </a:p>
          <a:p>
            <a:r>
              <a:rPr lang="en-US" altLang="ko-KR" sz="2800" b="1" dirty="0">
                <a:solidFill>
                  <a:schemeClr val="bg1"/>
                </a:solidFill>
                <a:latin typeface="+mn-lt"/>
                <a:ea typeface="+mn-ea"/>
                <a:cs typeface="Arial" pitchFamily="34" charset="0"/>
              </a:rPr>
              <a:t>PPT TEMPLATES</a:t>
            </a:r>
          </a:p>
        </p:txBody>
      </p:sp>
    </p:spTree>
    <p:extLst>
      <p:ext uri="{BB962C8B-B14F-4D97-AF65-F5344CB8AC3E}">
        <p14:creationId xmlns:p14="http://schemas.microsoft.com/office/powerpoint/2010/main" val="23572333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4_Images &amp; Contents Layout">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5039883" y="404664"/>
            <a:ext cx="7152117" cy="13681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2" name="제목 1"/>
          <p:cNvSpPr>
            <a:spLocks noGrp="1"/>
          </p:cNvSpPr>
          <p:nvPr>
            <p:ph type="title" hasCustomPrompt="1"/>
          </p:nvPr>
        </p:nvSpPr>
        <p:spPr>
          <a:xfrm>
            <a:off x="5641856" y="733302"/>
            <a:ext cx="5966670" cy="710877"/>
          </a:xfrm>
          <a:prstGeom prst="rect">
            <a:avLst/>
          </a:prstGeom>
        </p:spPr>
        <p:txBody>
          <a:bodyPr anchor="ctr">
            <a:noAutofit/>
          </a:bodyPr>
          <a:lstStyle>
            <a:lvl1pPr algn="l">
              <a:defRPr sz="4000" b="0" baseline="0">
                <a:solidFill>
                  <a:schemeClr val="bg1"/>
                </a:solidFill>
                <a:latin typeface="Arial" pitchFamily="34" charset="0"/>
                <a:cs typeface="Arial" pitchFamily="34" charset="0"/>
              </a:defRPr>
            </a:lvl1pPr>
          </a:lstStyle>
          <a:p>
            <a:r>
              <a:rPr lang="en-US" altLang="ko-KR" dirty="0"/>
              <a:t>Images &amp; Contents</a:t>
            </a:r>
            <a:endParaRPr lang="ko-KR" altLang="en-US" dirty="0"/>
          </a:p>
        </p:txBody>
      </p:sp>
      <p:sp>
        <p:nvSpPr>
          <p:cNvPr id="3" name="그림 개체 틀 2"/>
          <p:cNvSpPr>
            <a:spLocks noGrp="1"/>
          </p:cNvSpPr>
          <p:nvPr>
            <p:ph type="pic" sz="quarter" idx="14" hasCustomPrompt="1"/>
          </p:nvPr>
        </p:nvSpPr>
        <p:spPr>
          <a:xfrm>
            <a:off x="0" y="0"/>
            <a:ext cx="5039883" cy="6858000"/>
          </a:xfrm>
          <a:prstGeom prst="rect">
            <a:avLst/>
          </a:prstGeom>
          <a:solidFill>
            <a:schemeClr val="bg1">
              <a:lumMod val="9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0" rIns="91440" bIns="45720" numCol="1" spcCol="0" rtlCol="0" fromWordArt="0" anchor="ctr" anchorCtr="0" forceAA="0" compatLnSpc="1">
            <a:prstTxWarp prst="textNoShape">
              <a:avLst/>
            </a:prstTxWarp>
            <a:noAutofit/>
          </a:bodyPr>
          <a:lstStyle>
            <a:lvl1pPr marL="0" indent="0">
              <a:buFontTx/>
              <a:buNone/>
              <a:defRPr lang="ko-KR" altLang="en-US" sz="1200" dirty="0">
                <a:solidFill>
                  <a:schemeClr val="tx1">
                    <a:lumMod val="75000"/>
                    <a:lumOff val="25000"/>
                  </a:schemeClr>
                </a:solidFill>
              </a:defRPr>
            </a:lvl1pPr>
          </a:lstStyle>
          <a:p>
            <a:pPr marL="0" lvl="0" algn="ctr"/>
            <a:r>
              <a:rPr lang="en-US" altLang="ko-KR" dirty="0"/>
              <a:t>Place Your Picture Here</a:t>
            </a:r>
            <a:endParaRPr lang="ko-KR" altLang="en-US" dirty="0"/>
          </a:p>
        </p:txBody>
      </p:sp>
      <p:sp>
        <p:nvSpPr>
          <p:cNvPr id="5" name="Rectangle 4"/>
          <p:cNvSpPr/>
          <p:nvPr userDrawn="1"/>
        </p:nvSpPr>
        <p:spPr>
          <a:xfrm>
            <a:off x="5353824" y="733302"/>
            <a:ext cx="203696" cy="722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grpSp>
        <p:nvGrpSpPr>
          <p:cNvPr id="9" name="Group 8">
            <a:extLst>
              <a:ext uri="{FF2B5EF4-FFF2-40B4-BE49-F238E27FC236}">
                <a16:creationId xmlns:a16="http://schemas.microsoft.com/office/drawing/2014/main" xmlns="" id="{F98C2D50-3619-48EA-833C-CBFA42C474ED}"/>
              </a:ext>
            </a:extLst>
          </p:cNvPr>
          <p:cNvGrpSpPr/>
          <p:nvPr userDrawn="1"/>
        </p:nvGrpSpPr>
        <p:grpSpPr>
          <a:xfrm rot="10800000" flipH="1" flipV="1">
            <a:off x="5688624" y="5899288"/>
            <a:ext cx="6170002" cy="862288"/>
            <a:chOff x="-711608" y="4905446"/>
            <a:chExt cx="12267395" cy="1714429"/>
          </a:xfrm>
        </p:grpSpPr>
        <p:sp>
          <p:nvSpPr>
            <p:cNvPr id="10" name="Freeform: Shape 9">
              <a:extLst>
                <a:ext uri="{FF2B5EF4-FFF2-40B4-BE49-F238E27FC236}">
                  <a16:creationId xmlns:a16="http://schemas.microsoft.com/office/drawing/2014/main" xmlns="" id="{6BE6F97E-237C-4F49-BF74-07AD0A30E4A6}"/>
                </a:ext>
              </a:extLst>
            </p:cNvPr>
            <p:cNvSpPr/>
            <p:nvPr/>
          </p:nvSpPr>
          <p:spPr>
            <a:xfrm>
              <a:off x="6913640" y="4905446"/>
              <a:ext cx="4642147" cy="1714429"/>
            </a:xfrm>
            <a:custGeom>
              <a:avLst/>
              <a:gdLst>
                <a:gd name="connsiteX0" fmla="*/ 4794342 w 4797505"/>
                <a:gd name="connsiteY0" fmla="*/ 184721 h 1771805"/>
                <a:gd name="connsiteX1" fmla="*/ 4759588 w 4797505"/>
                <a:gd name="connsiteY1" fmla="*/ 70236 h 1771805"/>
                <a:gd name="connsiteX2" fmla="*/ 4668953 w 4797505"/>
                <a:gd name="connsiteY2" fmla="*/ 27303 h 1771805"/>
                <a:gd name="connsiteX3" fmla="*/ 4624657 w 4797505"/>
                <a:gd name="connsiteY3" fmla="*/ 6178 h 1771805"/>
                <a:gd name="connsiteX4" fmla="*/ 4564007 w 4797505"/>
                <a:gd name="connsiteY4" fmla="*/ 39570 h 1771805"/>
                <a:gd name="connsiteX5" fmla="*/ 4616480 w 4797505"/>
                <a:gd name="connsiteY5" fmla="*/ 84546 h 1771805"/>
                <a:gd name="connsiteX6" fmla="*/ 4665545 w 4797505"/>
                <a:gd name="connsiteY6" fmla="*/ 71598 h 1771805"/>
                <a:gd name="connsiteX7" fmla="*/ 4727559 w 4797505"/>
                <a:gd name="connsiteY7" fmla="*/ 101583 h 1771805"/>
                <a:gd name="connsiteX8" fmla="*/ 4750047 w 4797505"/>
                <a:gd name="connsiteY8" fmla="*/ 180633 h 1771805"/>
                <a:gd name="connsiteX9" fmla="*/ 4663501 w 4797505"/>
                <a:gd name="connsiteY9" fmla="*/ 456625 h 1771805"/>
                <a:gd name="connsiteX10" fmla="*/ 4638968 w 4797505"/>
                <a:gd name="connsiteY10" fmla="*/ 494787 h 1771805"/>
                <a:gd name="connsiteX11" fmla="*/ 4613073 w 4797505"/>
                <a:gd name="connsiteY11" fmla="*/ 507054 h 1771805"/>
                <a:gd name="connsiteX12" fmla="*/ 4430440 w 4797505"/>
                <a:gd name="connsiteY12" fmla="*/ 593600 h 1771805"/>
                <a:gd name="connsiteX13" fmla="*/ 4257349 w 4797505"/>
                <a:gd name="connsiteY13" fmla="*/ 504328 h 1771805"/>
                <a:gd name="connsiteX14" fmla="*/ 4231453 w 4797505"/>
                <a:gd name="connsiteY14" fmla="*/ 492062 h 1771805"/>
                <a:gd name="connsiteX15" fmla="*/ 4206920 w 4797505"/>
                <a:gd name="connsiteY15" fmla="*/ 453900 h 1771805"/>
                <a:gd name="connsiteX16" fmla="*/ 4119011 w 4797505"/>
                <a:gd name="connsiteY16" fmla="*/ 178588 h 1771805"/>
                <a:gd name="connsiteX17" fmla="*/ 4140818 w 4797505"/>
                <a:gd name="connsiteY17" fmla="*/ 99538 h 1771805"/>
                <a:gd name="connsiteX18" fmla="*/ 4203513 w 4797505"/>
                <a:gd name="connsiteY18" fmla="*/ 69554 h 1771805"/>
                <a:gd name="connsiteX19" fmla="*/ 4252578 w 4797505"/>
                <a:gd name="connsiteY19" fmla="*/ 82502 h 1771805"/>
                <a:gd name="connsiteX20" fmla="*/ 4305051 w 4797505"/>
                <a:gd name="connsiteY20" fmla="*/ 37525 h 1771805"/>
                <a:gd name="connsiteX21" fmla="*/ 4244401 w 4797505"/>
                <a:gd name="connsiteY21" fmla="*/ 4134 h 1771805"/>
                <a:gd name="connsiteX22" fmla="*/ 4199424 w 4797505"/>
                <a:gd name="connsiteY22" fmla="*/ 25259 h 1771805"/>
                <a:gd name="connsiteX23" fmla="*/ 4109471 w 4797505"/>
                <a:gd name="connsiteY23" fmla="*/ 68191 h 1771805"/>
                <a:gd name="connsiteX24" fmla="*/ 4075398 w 4797505"/>
                <a:gd name="connsiteY24" fmla="*/ 183359 h 1771805"/>
                <a:gd name="connsiteX25" fmla="*/ 4196698 w 4797505"/>
                <a:gd name="connsiteY25" fmla="*/ 520002 h 1771805"/>
                <a:gd name="connsiteX26" fmla="*/ 4204195 w 4797505"/>
                <a:gd name="connsiteY26" fmla="*/ 549986 h 1771805"/>
                <a:gd name="connsiteX27" fmla="*/ 4391597 w 4797505"/>
                <a:gd name="connsiteY27" fmla="*/ 660383 h 1771805"/>
                <a:gd name="connsiteX28" fmla="*/ 4391597 w 4797505"/>
                <a:gd name="connsiteY28" fmla="*/ 928880 h 1771805"/>
                <a:gd name="connsiteX29" fmla="*/ 4318680 w 4797505"/>
                <a:gd name="connsiteY29" fmla="*/ 1031099 h 1771805"/>
                <a:gd name="connsiteX30" fmla="*/ 3718992 w 4797505"/>
                <a:gd name="connsiteY30" fmla="*/ 1031099 h 1771805"/>
                <a:gd name="connsiteX31" fmla="*/ 3638579 w 4797505"/>
                <a:gd name="connsiteY31" fmla="*/ 673331 h 1771805"/>
                <a:gd name="connsiteX32" fmla="*/ 3626313 w 4797505"/>
                <a:gd name="connsiteY32" fmla="*/ 654250 h 1771805"/>
                <a:gd name="connsiteX33" fmla="*/ 3604506 w 4797505"/>
                <a:gd name="connsiteY33" fmla="*/ 646754 h 1771805"/>
                <a:gd name="connsiteX34" fmla="*/ 3603825 w 4797505"/>
                <a:gd name="connsiteY34" fmla="*/ 646754 h 1771805"/>
                <a:gd name="connsiteX35" fmla="*/ 3582018 w 4797505"/>
                <a:gd name="connsiteY35" fmla="*/ 654931 h 1771805"/>
                <a:gd name="connsiteX36" fmla="*/ 3570433 w 4797505"/>
                <a:gd name="connsiteY36" fmla="*/ 674694 h 1771805"/>
                <a:gd name="connsiteX37" fmla="*/ 3504331 w 4797505"/>
                <a:gd name="connsiteY37" fmla="*/ 1030418 h 1771805"/>
                <a:gd name="connsiteX38" fmla="*/ 3404837 w 4797505"/>
                <a:gd name="connsiteY38" fmla="*/ 1030418 h 1771805"/>
                <a:gd name="connsiteX39" fmla="*/ 3272633 w 4797505"/>
                <a:gd name="connsiteY39" fmla="*/ 319651 h 1771805"/>
                <a:gd name="connsiteX40" fmla="*/ 3261048 w 4797505"/>
                <a:gd name="connsiteY40" fmla="*/ 298526 h 1771805"/>
                <a:gd name="connsiteX41" fmla="*/ 3238560 w 4797505"/>
                <a:gd name="connsiteY41" fmla="*/ 290348 h 1771805"/>
                <a:gd name="connsiteX42" fmla="*/ 3216072 w 4797505"/>
                <a:gd name="connsiteY42" fmla="*/ 298526 h 1771805"/>
                <a:gd name="connsiteX43" fmla="*/ 3204487 w 4797505"/>
                <a:gd name="connsiteY43" fmla="*/ 319651 h 1771805"/>
                <a:gd name="connsiteX44" fmla="*/ 3060016 w 4797505"/>
                <a:gd name="connsiteY44" fmla="*/ 1199421 h 1771805"/>
                <a:gd name="connsiteX45" fmla="*/ 3046387 w 4797505"/>
                <a:gd name="connsiteY45" fmla="*/ 1041321 h 1771805"/>
                <a:gd name="connsiteX46" fmla="*/ 3035484 w 4797505"/>
                <a:gd name="connsiteY46" fmla="*/ 1018833 h 1771805"/>
                <a:gd name="connsiteX47" fmla="*/ 3012314 w 4797505"/>
                <a:gd name="connsiteY47" fmla="*/ 1009293 h 1771805"/>
                <a:gd name="connsiteX48" fmla="*/ 2970745 w 4797505"/>
                <a:gd name="connsiteY48" fmla="*/ 1009293 h 1771805"/>
                <a:gd name="connsiteX49" fmla="*/ 2970745 w 4797505"/>
                <a:gd name="connsiteY49" fmla="*/ 1008611 h 1771805"/>
                <a:gd name="connsiteX50" fmla="*/ 2938716 w 4797505"/>
                <a:gd name="connsiteY50" fmla="*/ 1008611 h 1771805"/>
                <a:gd name="connsiteX51" fmla="*/ 2909413 w 4797505"/>
                <a:gd name="connsiteY51" fmla="*/ 1008611 h 1771805"/>
                <a:gd name="connsiteX52" fmla="*/ 1420414 w 4797505"/>
                <a:gd name="connsiteY52" fmla="*/ 1008611 h 1771805"/>
                <a:gd name="connsiteX53" fmla="*/ 1399289 w 4797505"/>
                <a:gd name="connsiteY53" fmla="*/ 1008611 h 1771805"/>
                <a:gd name="connsiteX54" fmla="*/ 1380889 w 4797505"/>
                <a:gd name="connsiteY54" fmla="*/ 1008611 h 1771805"/>
                <a:gd name="connsiteX55" fmla="*/ 1358401 w 4797505"/>
                <a:gd name="connsiteY55" fmla="*/ 1016789 h 1771805"/>
                <a:gd name="connsiteX56" fmla="*/ 1346816 w 4797505"/>
                <a:gd name="connsiteY56" fmla="*/ 1037914 h 1771805"/>
                <a:gd name="connsiteX57" fmla="*/ 1250048 w 4797505"/>
                <a:gd name="connsiteY57" fmla="*/ 1495176 h 1771805"/>
                <a:gd name="connsiteX58" fmla="*/ 1083771 w 4797505"/>
                <a:gd name="connsiteY58" fmla="*/ 567023 h 1771805"/>
                <a:gd name="connsiteX59" fmla="*/ 1072186 w 4797505"/>
                <a:gd name="connsiteY59" fmla="*/ 545897 h 1771805"/>
                <a:gd name="connsiteX60" fmla="*/ 1049698 w 4797505"/>
                <a:gd name="connsiteY60" fmla="*/ 537720 h 1771805"/>
                <a:gd name="connsiteX61" fmla="*/ 1049016 w 4797505"/>
                <a:gd name="connsiteY61" fmla="*/ 537720 h 1771805"/>
                <a:gd name="connsiteX62" fmla="*/ 1048335 w 4797505"/>
                <a:gd name="connsiteY62" fmla="*/ 537720 h 1771805"/>
                <a:gd name="connsiteX63" fmla="*/ 1025847 w 4797505"/>
                <a:gd name="connsiteY63" fmla="*/ 547260 h 1771805"/>
                <a:gd name="connsiteX64" fmla="*/ 1014943 w 4797505"/>
                <a:gd name="connsiteY64" fmla="*/ 569748 h 1771805"/>
                <a:gd name="connsiteX65" fmla="*/ 978144 w 4797505"/>
                <a:gd name="connsiteY65" fmla="*/ 1009293 h 1771805"/>
                <a:gd name="connsiteX66" fmla="*/ 899094 w 4797505"/>
                <a:gd name="connsiteY66" fmla="*/ 1009293 h 1771805"/>
                <a:gd name="connsiteX67" fmla="*/ 876606 w 4797505"/>
                <a:gd name="connsiteY67" fmla="*/ 1017470 h 1771805"/>
                <a:gd name="connsiteX68" fmla="*/ 865021 w 4797505"/>
                <a:gd name="connsiteY68" fmla="*/ 1038595 h 1771805"/>
                <a:gd name="connsiteX69" fmla="*/ 805052 w 4797505"/>
                <a:gd name="connsiteY69" fmla="*/ 1289374 h 1771805"/>
                <a:gd name="connsiteX70" fmla="*/ 775068 w 4797505"/>
                <a:gd name="connsiteY70" fmla="*/ 1052906 h 1771805"/>
                <a:gd name="connsiteX71" fmla="*/ 762801 w 4797505"/>
                <a:gd name="connsiteY71" fmla="*/ 1033144 h 1771805"/>
                <a:gd name="connsiteX72" fmla="*/ 740995 w 4797505"/>
                <a:gd name="connsiteY72" fmla="*/ 1025648 h 1771805"/>
                <a:gd name="connsiteX73" fmla="*/ 3651 w 4797505"/>
                <a:gd name="connsiteY73" fmla="*/ 1025648 h 1771805"/>
                <a:gd name="connsiteX74" fmla="*/ 3651 w 4797505"/>
                <a:gd name="connsiteY74" fmla="*/ 1095157 h 1771805"/>
                <a:gd name="connsiteX75" fmla="*/ 713055 w 4797505"/>
                <a:gd name="connsiteY75" fmla="*/ 1095157 h 1771805"/>
                <a:gd name="connsiteX76" fmla="*/ 775749 w 4797505"/>
                <a:gd name="connsiteY76" fmla="*/ 1486999 h 1771805"/>
                <a:gd name="connsiteX77" fmla="*/ 788016 w 4797505"/>
                <a:gd name="connsiteY77" fmla="*/ 1506761 h 1771805"/>
                <a:gd name="connsiteX78" fmla="*/ 810504 w 4797505"/>
                <a:gd name="connsiteY78" fmla="*/ 1514257 h 1771805"/>
                <a:gd name="connsiteX79" fmla="*/ 810504 w 4797505"/>
                <a:gd name="connsiteY79" fmla="*/ 1514257 h 1771805"/>
                <a:gd name="connsiteX80" fmla="*/ 832311 w 4797505"/>
                <a:gd name="connsiteY80" fmla="*/ 1506080 h 1771805"/>
                <a:gd name="connsiteX81" fmla="*/ 843896 w 4797505"/>
                <a:gd name="connsiteY81" fmla="*/ 1485636 h 1771805"/>
                <a:gd name="connsiteX82" fmla="*/ 929079 w 4797505"/>
                <a:gd name="connsiteY82" fmla="*/ 1080165 h 1771805"/>
                <a:gd name="connsiteX83" fmla="*/ 1010173 w 4797505"/>
                <a:gd name="connsiteY83" fmla="*/ 1080165 h 1771805"/>
                <a:gd name="connsiteX84" fmla="*/ 1033343 w 4797505"/>
                <a:gd name="connsiteY84" fmla="*/ 1071306 h 1771805"/>
                <a:gd name="connsiteX85" fmla="*/ 1044246 w 4797505"/>
                <a:gd name="connsiteY85" fmla="*/ 1048817 h 1771805"/>
                <a:gd name="connsiteX86" fmla="*/ 1057875 w 4797505"/>
                <a:gd name="connsiteY86" fmla="*/ 890036 h 1771805"/>
                <a:gd name="connsiteX87" fmla="*/ 1216656 w 4797505"/>
                <a:gd name="connsiteY87" fmla="*/ 1740503 h 1771805"/>
                <a:gd name="connsiteX88" fmla="*/ 1228241 w 4797505"/>
                <a:gd name="connsiteY88" fmla="*/ 1761629 h 1771805"/>
                <a:gd name="connsiteX89" fmla="*/ 1250730 w 4797505"/>
                <a:gd name="connsiteY89" fmla="*/ 1769806 h 1771805"/>
                <a:gd name="connsiteX90" fmla="*/ 1273218 w 4797505"/>
                <a:gd name="connsiteY90" fmla="*/ 1760947 h 1771805"/>
                <a:gd name="connsiteX91" fmla="*/ 1284803 w 4797505"/>
                <a:gd name="connsiteY91" fmla="*/ 1739822 h 1771805"/>
                <a:gd name="connsiteX92" fmla="*/ 1410192 w 4797505"/>
                <a:gd name="connsiteY92" fmla="*/ 1078802 h 1771805"/>
                <a:gd name="connsiteX93" fmla="*/ 2907369 w 4797505"/>
                <a:gd name="connsiteY93" fmla="*/ 1078802 h 1771805"/>
                <a:gd name="connsiteX94" fmla="*/ 2936671 w 4797505"/>
                <a:gd name="connsiteY94" fmla="*/ 1078802 h 1771805"/>
                <a:gd name="connsiteX95" fmla="*/ 2968700 w 4797505"/>
                <a:gd name="connsiteY95" fmla="*/ 1078802 h 1771805"/>
                <a:gd name="connsiteX96" fmla="*/ 2968700 w 4797505"/>
                <a:gd name="connsiteY96" fmla="*/ 1078120 h 1771805"/>
                <a:gd name="connsiteX97" fmla="*/ 2978922 w 4797505"/>
                <a:gd name="connsiteY97" fmla="*/ 1078120 h 1771805"/>
                <a:gd name="connsiteX98" fmla="*/ 3015721 w 4797505"/>
                <a:gd name="connsiteY98" fmla="*/ 1497221 h 1771805"/>
                <a:gd name="connsiteX99" fmla="*/ 3026625 w 4797505"/>
                <a:gd name="connsiteY99" fmla="*/ 1519027 h 1771805"/>
                <a:gd name="connsiteX100" fmla="*/ 3049113 w 4797505"/>
                <a:gd name="connsiteY100" fmla="*/ 1528568 h 1771805"/>
                <a:gd name="connsiteX101" fmla="*/ 3049794 w 4797505"/>
                <a:gd name="connsiteY101" fmla="*/ 1528568 h 1771805"/>
                <a:gd name="connsiteX102" fmla="*/ 3050476 w 4797505"/>
                <a:gd name="connsiteY102" fmla="*/ 1528568 h 1771805"/>
                <a:gd name="connsiteX103" fmla="*/ 3072964 w 4797505"/>
                <a:gd name="connsiteY103" fmla="*/ 1520390 h 1771805"/>
                <a:gd name="connsiteX104" fmla="*/ 3084549 w 4797505"/>
                <a:gd name="connsiteY104" fmla="*/ 1499265 h 1771805"/>
                <a:gd name="connsiteX105" fmla="*/ 3237197 w 4797505"/>
                <a:gd name="connsiteY105" fmla="*/ 563615 h 1771805"/>
                <a:gd name="connsiteX106" fmla="*/ 3340098 w 4797505"/>
                <a:gd name="connsiteY106" fmla="*/ 1068580 h 1771805"/>
                <a:gd name="connsiteX107" fmla="*/ 3340098 w 4797505"/>
                <a:gd name="connsiteY107" fmla="*/ 1068580 h 1771805"/>
                <a:gd name="connsiteX108" fmla="*/ 3351683 w 4797505"/>
                <a:gd name="connsiteY108" fmla="*/ 1089705 h 1771805"/>
                <a:gd name="connsiteX109" fmla="*/ 3374171 w 4797505"/>
                <a:gd name="connsiteY109" fmla="*/ 1098564 h 1771805"/>
                <a:gd name="connsiteX110" fmla="*/ 3533634 w 4797505"/>
                <a:gd name="connsiteY110" fmla="*/ 1098564 h 1771805"/>
                <a:gd name="connsiteX111" fmla="*/ 3555441 w 4797505"/>
                <a:gd name="connsiteY111" fmla="*/ 1090387 h 1771805"/>
                <a:gd name="connsiteX112" fmla="*/ 3567026 w 4797505"/>
                <a:gd name="connsiteY112" fmla="*/ 1069943 h 1771805"/>
                <a:gd name="connsiteX113" fmla="*/ 3607232 w 4797505"/>
                <a:gd name="connsiteY113" fmla="*/ 842334 h 1771805"/>
                <a:gd name="connsiteX114" fmla="*/ 3656979 w 4797505"/>
                <a:gd name="connsiteY114" fmla="*/ 1071987 h 1771805"/>
                <a:gd name="connsiteX115" fmla="*/ 3669245 w 4797505"/>
                <a:gd name="connsiteY115" fmla="*/ 1091068 h 1771805"/>
                <a:gd name="connsiteX116" fmla="*/ 3690371 w 4797505"/>
                <a:gd name="connsiteY116" fmla="*/ 1098564 h 1771805"/>
                <a:gd name="connsiteX117" fmla="*/ 4326858 w 4797505"/>
                <a:gd name="connsiteY117" fmla="*/ 1098564 h 1771805"/>
                <a:gd name="connsiteX118" fmla="*/ 4368427 w 4797505"/>
                <a:gd name="connsiteY118" fmla="*/ 1098564 h 1771805"/>
                <a:gd name="connsiteX119" fmla="*/ 4459744 w 4797505"/>
                <a:gd name="connsiteY119" fmla="*/ 1015426 h 1771805"/>
                <a:gd name="connsiteX120" fmla="*/ 4459744 w 4797505"/>
                <a:gd name="connsiteY120" fmla="*/ 659020 h 1771805"/>
                <a:gd name="connsiteX121" fmla="*/ 4665545 w 4797505"/>
                <a:gd name="connsiteY121" fmla="*/ 552030 h 1771805"/>
                <a:gd name="connsiteX122" fmla="*/ 4673042 w 4797505"/>
                <a:gd name="connsiteY122" fmla="*/ 522046 h 1771805"/>
                <a:gd name="connsiteX123" fmla="*/ 4794342 w 4797505"/>
                <a:gd name="connsiteY123" fmla="*/ 184721 h 177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4797505" h="1771805">
                  <a:moveTo>
                    <a:pt x="4794342" y="184721"/>
                  </a:moveTo>
                  <a:cubicBezTo>
                    <a:pt x="4799112" y="137019"/>
                    <a:pt x="4787527" y="98176"/>
                    <a:pt x="4759588" y="70236"/>
                  </a:cubicBezTo>
                  <a:cubicBezTo>
                    <a:pt x="4733692" y="43658"/>
                    <a:pt x="4698256" y="32074"/>
                    <a:pt x="4668953" y="27303"/>
                  </a:cubicBezTo>
                  <a:cubicBezTo>
                    <a:pt x="4659412" y="16400"/>
                    <a:pt x="4643739" y="8222"/>
                    <a:pt x="4624657" y="6178"/>
                  </a:cubicBezTo>
                  <a:cubicBezTo>
                    <a:pt x="4593310" y="2771"/>
                    <a:pt x="4566052" y="18444"/>
                    <a:pt x="4564007" y="39570"/>
                  </a:cubicBezTo>
                  <a:cubicBezTo>
                    <a:pt x="4561963" y="61377"/>
                    <a:pt x="4585814" y="81820"/>
                    <a:pt x="4616480" y="84546"/>
                  </a:cubicBezTo>
                  <a:cubicBezTo>
                    <a:pt x="4636242" y="86591"/>
                    <a:pt x="4653961" y="81139"/>
                    <a:pt x="4665545" y="71598"/>
                  </a:cubicBezTo>
                  <a:cubicBezTo>
                    <a:pt x="4686671" y="75687"/>
                    <a:pt x="4711203" y="83865"/>
                    <a:pt x="4727559" y="101583"/>
                  </a:cubicBezTo>
                  <a:cubicBezTo>
                    <a:pt x="4745958" y="119982"/>
                    <a:pt x="4753454" y="145878"/>
                    <a:pt x="4750047" y="180633"/>
                  </a:cubicBezTo>
                  <a:cubicBezTo>
                    <a:pt x="4742551" y="254912"/>
                    <a:pt x="4715974" y="366672"/>
                    <a:pt x="4663501" y="456625"/>
                  </a:cubicBezTo>
                  <a:cubicBezTo>
                    <a:pt x="4655323" y="470255"/>
                    <a:pt x="4647146" y="483203"/>
                    <a:pt x="4638968" y="494787"/>
                  </a:cubicBezTo>
                  <a:cubicBezTo>
                    <a:pt x="4629428" y="494787"/>
                    <a:pt x="4619888" y="499558"/>
                    <a:pt x="4613073" y="507054"/>
                  </a:cubicBezTo>
                  <a:cubicBezTo>
                    <a:pt x="4561963" y="567023"/>
                    <a:pt x="4499268" y="593600"/>
                    <a:pt x="4430440" y="593600"/>
                  </a:cubicBezTo>
                  <a:cubicBezTo>
                    <a:pt x="4365020" y="591555"/>
                    <a:pt x="4306414" y="562252"/>
                    <a:pt x="4257349" y="504328"/>
                  </a:cubicBezTo>
                  <a:cubicBezTo>
                    <a:pt x="4250534" y="496150"/>
                    <a:pt x="4240993" y="492062"/>
                    <a:pt x="4231453" y="492062"/>
                  </a:cubicBezTo>
                  <a:cubicBezTo>
                    <a:pt x="4223275" y="480477"/>
                    <a:pt x="4214417" y="467529"/>
                    <a:pt x="4206920" y="453900"/>
                  </a:cubicBezTo>
                  <a:cubicBezTo>
                    <a:pt x="4153766" y="363946"/>
                    <a:pt x="4126507" y="252186"/>
                    <a:pt x="4119011" y="178588"/>
                  </a:cubicBezTo>
                  <a:cubicBezTo>
                    <a:pt x="4115604" y="143834"/>
                    <a:pt x="4122419" y="117938"/>
                    <a:pt x="4140818" y="99538"/>
                  </a:cubicBezTo>
                  <a:cubicBezTo>
                    <a:pt x="4157855" y="81820"/>
                    <a:pt x="4181706" y="73643"/>
                    <a:pt x="4203513" y="69554"/>
                  </a:cubicBezTo>
                  <a:cubicBezTo>
                    <a:pt x="4214417" y="79095"/>
                    <a:pt x="4232816" y="84546"/>
                    <a:pt x="4252578" y="82502"/>
                  </a:cubicBezTo>
                  <a:cubicBezTo>
                    <a:pt x="4283926" y="79095"/>
                    <a:pt x="4307777" y="59332"/>
                    <a:pt x="4305051" y="37525"/>
                  </a:cubicBezTo>
                  <a:cubicBezTo>
                    <a:pt x="4303007" y="15718"/>
                    <a:pt x="4275748" y="726"/>
                    <a:pt x="4244401" y="4134"/>
                  </a:cubicBezTo>
                  <a:cubicBezTo>
                    <a:pt x="4225320" y="6178"/>
                    <a:pt x="4208964" y="14356"/>
                    <a:pt x="4199424" y="25259"/>
                  </a:cubicBezTo>
                  <a:cubicBezTo>
                    <a:pt x="4170121" y="30029"/>
                    <a:pt x="4135366" y="42296"/>
                    <a:pt x="4109471" y="68191"/>
                  </a:cubicBezTo>
                  <a:cubicBezTo>
                    <a:pt x="4081531" y="96131"/>
                    <a:pt x="4069946" y="134975"/>
                    <a:pt x="4075398" y="183359"/>
                  </a:cubicBezTo>
                  <a:cubicBezTo>
                    <a:pt x="4083575" y="262408"/>
                    <a:pt x="4118330" y="413012"/>
                    <a:pt x="4196698" y="520002"/>
                  </a:cubicBezTo>
                  <a:cubicBezTo>
                    <a:pt x="4194654" y="530224"/>
                    <a:pt x="4197380" y="541127"/>
                    <a:pt x="4204195" y="549986"/>
                  </a:cubicBezTo>
                  <a:cubicBezTo>
                    <a:pt x="4258712" y="614044"/>
                    <a:pt x="4319362" y="647435"/>
                    <a:pt x="4391597" y="660383"/>
                  </a:cubicBezTo>
                  <a:lnTo>
                    <a:pt x="4391597" y="928880"/>
                  </a:lnTo>
                  <a:cubicBezTo>
                    <a:pt x="4392960" y="972494"/>
                    <a:pt x="4385464" y="1027011"/>
                    <a:pt x="4318680" y="1031099"/>
                  </a:cubicBezTo>
                  <a:lnTo>
                    <a:pt x="3718992" y="1031099"/>
                  </a:lnTo>
                  <a:lnTo>
                    <a:pt x="3638579" y="673331"/>
                  </a:lnTo>
                  <a:cubicBezTo>
                    <a:pt x="3636535" y="665153"/>
                    <a:pt x="3632446" y="659020"/>
                    <a:pt x="3626313" y="654250"/>
                  </a:cubicBezTo>
                  <a:cubicBezTo>
                    <a:pt x="3620861" y="649480"/>
                    <a:pt x="3613365" y="647435"/>
                    <a:pt x="3604506" y="646754"/>
                  </a:cubicBezTo>
                  <a:lnTo>
                    <a:pt x="3603825" y="646754"/>
                  </a:lnTo>
                  <a:cubicBezTo>
                    <a:pt x="3595647" y="646754"/>
                    <a:pt x="3588151" y="649480"/>
                    <a:pt x="3582018" y="654931"/>
                  </a:cubicBezTo>
                  <a:cubicBezTo>
                    <a:pt x="3576566" y="659702"/>
                    <a:pt x="3571796" y="666516"/>
                    <a:pt x="3570433" y="674694"/>
                  </a:cubicBezTo>
                  <a:lnTo>
                    <a:pt x="3504331" y="1030418"/>
                  </a:lnTo>
                  <a:lnTo>
                    <a:pt x="3404837" y="1030418"/>
                  </a:lnTo>
                  <a:lnTo>
                    <a:pt x="3272633" y="319651"/>
                  </a:lnTo>
                  <a:cubicBezTo>
                    <a:pt x="3271270" y="311474"/>
                    <a:pt x="3267182" y="303978"/>
                    <a:pt x="3261048" y="298526"/>
                  </a:cubicBezTo>
                  <a:cubicBezTo>
                    <a:pt x="3254915" y="293074"/>
                    <a:pt x="3246738" y="290348"/>
                    <a:pt x="3238560" y="290348"/>
                  </a:cubicBezTo>
                  <a:cubicBezTo>
                    <a:pt x="3230382" y="290348"/>
                    <a:pt x="3222205" y="293756"/>
                    <a:pt x="3216072" y="298526"/>
                  </a:cubicBezTo>
                  <a:cubicBezTo>
                    <a:pt x="3209938" y="303978"/>
                    <a:pt x="3205850" y="311474"/>
                    <a:pt x="3204487" y="319651"/>
                  </a:cubicBezTo>
                  <a:lnTo>
                    <a:pt x="3060016" y="1199421"/>
                  </a:lnTo>
                  <a:lnTo>
                    <a:pt x="3046387" y="1041321"/>
                  </a:lnTo>
                  <a:cubicBezTo>
                    <a:pt x="3045706" y="1032462"/>
                    <a:pt x="3041617" y="1024285"/>
                    <a:pt x="3035484" y="1018833"/>
                  </a:cubicBezTo>
                  <a:cubicBezTo>
                    <a:pt x="3029351" y="1013381"/>
                    <a:pt x="3021173" y="1009293"/>
                    <a:pt x="3012314" y="1009293"/>
                  </a:cubicBezTo>
                  <a:lnTo>
                    <a:pt x="2970745" y="1009293"/>
                  </a:lnTo>
                  <a:lnTo>
                    <a:pt x="2970745" y="1008611"/>
                  </a:lnTo>
                  <a:lnTo>
                    <a:pt x="2938716" y="1008611"/>
                  </a:lnTo>
                  <a:lnTo>
                    <a:pt x="2909413" y="1008611"/>
                  </a:lnTo>
                  <a:lnTo>
                    <a:pt x="1420414" y="1008611"/>
                  </a:lnTo>
                  <a:lnTo>
                    <a:pt x="1399289" y="1008611"/>
                  </a:lnTo>
                  <a:lnTo>
                    <a:pt x="1380889" y="1008611"/>
                  </a:lnTo>
                  <a:cubicBezTo>
                    <a:pt x="1372030" y="1008611"/>
                    <a:pt x="1363853" y="1012018"/>
                    <a:pt x="1358401" y="1016789"/>
                  </a:cubicBezTo>
                  <a:cubicBezTo>
                    <a:pt x="1352268" y="1022240"/>
                    <a:pt x="1347498" y="1029736"/>
                    <a:pt x="1346816" y="1037914"/>
                  </a:cubicBezTo>
                  <a:lnTo>
                    <a:pt x="1250048" y="1495176"/>
                  </a:lnTo>
                  <a:lnTo>
                    <a:pt x="1083771" y="567023"/>
                  </a:lnTo>
                  <a:cubicBezTo>
                    <a:pt x="1082408" y="558845"/>
                    <a:pt x="1078319" y="551349"/>
                    <a:pt x="1072186" y="545897"/>
                  </a:cubicBezTo>
                  <a:cubicBezTo>
                    <a:pt x="1066053" y="540446"/>
                    <a:pt x="1058557" y="537720"/>
                    <a:pt x="1049698" y="537720"/>
                  </a:cubicBezTo>
                  <a:lnTo>
                    <a:pt x="1049016" y="537720"/>
                  </a:lnTo>
                  <a:lnTo>
                    <a:pt x="1048335" y="537720"/>
                  </a:lnTo>
                  <a:cubicBezTo>
                    <a:pt x="1040157" y="537720"/>
                    <a:pt x="1031980" y="541808"/>
                    <a:pt x="1025847" y="547260"/>
                  </a:cubicBezTo>
                  <a:cubicBezTo>
                    <a:pt x="1019713" y="552712"/>
                    <a:pt x="1015625" y="560889"/>
                    <a:pt x="1014943" y="569748"/>
                  </a:cubicBezTo>
                  <a:lnTo>
                    <a:pt x="978144" y="1009293"/>
                  </a:lnTo>
                  <a:lnTo>
                    <a:pt x="899094" y="1009293"/>
                  </a:lnTo>
                  <a:cubicBezTo>
                    <a:pt x="890235" y="1009293"/>
                    <a:pt x="882739" y="1012700"/>
                    <a:pt x="876606" y="1017470"/>
                  </a:cubicBezTo>
                  <a:cubicBezTo>
                    <a:pt x="870473" y="1022922"/>
                    <a:pt x="866384" y="1029736"/>
                    <a:pt x="865021" y="1038595"/>
                  </a:cubicBezTo>
                  <a:lnTo>
                    <a:pt x="805052" y="1289374"/>
                  </a:lnTo>
                  <a:lnTo>
                    <a:pt x="775068" y="1052906"/>
                  </a:lnTo>
                  <a:cubicBezTo>
                    <a:pt x="773705" y="1044729"/>
                    <a:pt x="768935" y="1037914"/>
                    <a:pt x="762801" y="1033144"/>
                  </a:cubicBezTo>
                  <a:cubicBezTo>
                    <a:pt x="756668" y="1028374"/>
                    <a:pt x="749172" y="1025648"/>
                    <a:pt x="740995" y="1025648"/>
                  </a:cubicBezTo>
                  <a:lnTo>
                    <a:pt x="3651" y="1025648"/>
                  </a:lnTo>
                  <a:lnTo>
                    <a:pt x="3651" y="1095157"/>
                  </a:lnTo>
                  <a:lnTo>
                    <a:pt x="713055" y="1095157"/>
                  </a:lnTo>
                  <a:lnTo>
                    <a:pt x="775749" y="1486999"/>
                  </a:lnTo>
                  <a:cubicBezTo>
                    <a:pt x="777794" y="1495176"/>
                    <a:pt x="781882" y="1501991"/>
                    <a:pt x="788016" y="1506761"/>
                  </a:cubicBezTo>
                  <a:cubicBezTo>
                    <a:pt x="794149" y="1511531"/>
                    <a:pt x="802326" y="1514257"/>
                    <a:pt x="810504" y="1514257"/>
                  </a:cubicBezTo>
                  <a:lnTo>
                    <a:pt x="810504" y="1514257"/>
                  </a:lnTo>
                  <a:cubicBezTo>
                    <a:pt x="818682" y="1514257"/>
                    <a:pt x="826178" y="1510850"/>
                    <a:pt x="832311" y="1506080"/>
                  </a:cubicBezTo>
                  <a:cubicBezTo>
                    <a:pt x="838444" y="1500628"/>
                    <a:pt x="842533" y="1493813"/>
                    <a:pt x="843896" y="1485636"/>
                  </a:cubicBezTo>
                  <a:lnTo>
                    <a:pt x="929079" y="1080165"/>
                  </a:lnTo>
                  <a:lnTo>
                    <a:pt x="1010173" y="1080165"/>
                  </a:lnTo>
                  <a:cubicBezTo>
                    <a:pt x="1019032" y="1080165"/>
                    <a:pt x="1027209" y="1076758"/>
                    <a:pt x="1033343" y="1071306"/>
                  </a:cubicBezTo>
                  <a:cubicBezTo>
                    <a:pt x="1039476" y="1065854"/>
                    <a:pt x="1043565" y="1057677"/>
                    <a:pt x="1044246" y="1048817"/>
                  </a:cubicBezTo>
                  <a:lnTo>
                    <a:pt x="1057875" y="890036"/>
                  </a:lnTo>
                  <a:lnTo>
                    <a:pt x="1216656" y="1740503"/>
                  </a:lnTo>
                  <a:cubicBezTo>
                    <a:pt x="1218019" y="1748681"/>
                    <a:pt x="1222108" y="1756177"/>
                    <a:pt x="1228241" y="1761629"/>
                  </a:cubicBezTo>
                  <a:cubicBezTo>
                    <a:pt x="1234375" y="1767080"/>
                    <a:pt x="1241871" y="1769806"/>
                    <a:pt x="1250730" y="1769806"/>
                  </a:cubicBezTo>
                  <a:cubicBezTo>
                    <a:pt x="1259589" y="1769806"/>
                    <a:pt x="1267085" y="1766399"/>
                    <a:pt x="1273218" y="1760947"/>
                  </a:cubicBezTo>
                  <a:cubicBezTo>
                    <a:pt x="1279351" y="1755495"/>
                    <a:pt x="1283440" y="1747999"/>
                    <a:pt x="1284803" y="1739822"/>
                  </a:cubicBezTo>
                  <a:lnTo>
                    <a:pt x="1410192" y="1078802"/>
                  </a:lnTo>
                  <a:lnTo>
                    <a:pt x="2907369" y="1078802"/>
                  </a:lnTo>
                  <a:lnTo>
                    <a:pt x="2936671" y="1078802"/>
                  </a:lnTo>
                  <a:lnTo>
                    <a:pt x="2968700" y="1078802"/>
                  </a:lnTo>
                  <a:lnTo>
                    <a:pt x="2968700" y="1078120"/>
                  </a:lnTo>
                  <a:lnTo>
                    <a:pt x="2978922" y="1078120"/>
                  </a:lnTo>
                  <a:lnTo>
                    <a:pt x="3015721" y="1497221"/>
                  </a:lnTo>
                  <a:cubicBezTo>
                    <a:pt x="3016403" y="1505398"/>
                    <a:pt x="3020492" y="1513576"/>
                    <a:pt x="3026625" y="1519027"/>
                  </a:cubicBezTo>
                  <a:cubicBezTo>
                    <a:pt x="3032758" y="1524479"/>
                    <a:pt x="3040254" y="1528568"/>
                    <a:pt x="3049113" y="1528568"/>
                  </a:cubicBezTo>
                  <a:lnTo>
                    <a:pt x="3049794" y="1528568"/>
                  </a:lnTo>
                  <a:lnTo>
                    <a:pt x="3050476" y="1528568"/>
                  </a:lnTo>
                  <a:cubicBezTo>
                    <a:pt x="3059335" y="1528568"/>
                    <a:pt x="3066831" y="1525161"/>
                    <a:pt x="3072964" y="1520390"/>
                  </a:cubicBezTo>
                  <a:cubicBezTo>
                    <a:pt x="3079097" y="1514939"/>
                    <a:pt x="3083186" y="1507443"/>
                    <a:pt x="3084549" y="1499265"/>
                  </a:cubicBezTo>
                  <a:lnTo>
                    <a:pt x="3237197" y="563615"/>
                  </a:lnTo>
                  <a:lnTo>
                    <a:pt x="3340098" y="1068580"/>
                  </a:lnTo>
                  <a:lnTo>
                    <a:pt x="3340098" y="1068580"/>
                  </a:lnTo>
                  <a:cubicBezTo>
                    <a:pt x="3341461" y="1076758"/>
                    <a:pt x="3345550" y="1084254"/>
                    <a:pt x="3351683" y="1089705"/>
                  </a:cubicBezTo>
                  <a:cubicBezTo>
                    <a:pt x="3357816" y="1095157"/>
                    <a:pt x="3365994" y="1098564"/>
                    <a:pt x="3374171" y="1098564"/>
                  </a:cubicBezTo>
                  <a:lnTo>
                    <a:pt x="3533634" y="1098564"/>
                  </a:lnTo>
                  <a:cubicBezTo>
                    <a:pt x="3541811" y="1098564"/>
                    <a:pt x="3549307" y="1095157"/>
                    <a:pt x="3555441" y="1090387"/>
                  </a:cubicBezTo>
                  <a:cubicBezTo>
                    <a:pt x="3561574" y="1085616"/>
                    <a:pt x="3565663" y="1078802"/>
                    <a:pt x="3567026" y="1069943"/>
                  </a:cubicBezTo>
                  <a:lnTo>
                    <a:pt x="3607232" y="842334"/>
                  </a:lnTo>
                  <a:lnTo>
                    <a:pt x="3656979" y="1071987"/>
                  </a:lnTo>
                  <a:cubicBezTo>
                    <a:pt x="3659023" y="1079483"/>
                    <a:pt x="3663112" y="1086298"/>
                    <a:pt x="3669245" y="1091068"/>
                  </a:cubicBezTo>
                  <a:cubicBezTo>
                    <a:pt x="3675378" y="1095838"/>
                    <a:pt x="3682875" y="1098564"/>
                    <a:pt x="3690371" y="1098564"/>
                  </a:cubicBezTo>
                  <a:cubicBezTo>
                    <a:pt x="3854603" y="1098564"/>
                    <a:pt x="4162625" y="1098564"/>
                    <a:pt x="4326858" y="1098564"/>
                  </a:cubicBezTo>
                  <a:cubicBezTo>
                    <a:pt x="4340487" y="1098564"/>
                    <a:pt x="4354798" y="1098564"/>
                    <a:pt x="4368427" y="1098564"/>
                  </a:cubicBezTo>
                  <a:cubicBezTo>
                    <a:pt x="4405226" y="1098564"/>
                    <a:pt x="4459744" y="1066536"/>
                    <a:pt x="4459744" y="1015426"/>
                  </a:cubicBezTo>
                  <a:lnTo>
                    <a:pt x="4459744" y="659020"/>
                  </a:lnTo>
                  <a:cubicBezTo>
                    <a:pt x="4532660" y="646072"/>
                    <a:pt x="4611710" y="615407"/>
                    <a:pt x="4665545" y="552030"/>
                  </a:cubicBezTo>
                  <a:cubicBezTo>
                    <a:pt x="4672360" y="543171"/>
                    <a:pt x="4675086" y="532268"/>
                    <a:pt x="4673042" y="522046"/>
                  </a:cubicBezTo>
                  <a:cubicBezTo>
                    <a:pt x="4752091" y="414375"/>
                    <a:pt x="4786846" y="264453"/>
                    <a:pt x="4794342" y="184721"/>
                  </a:cubicBezTo>
                  <a:close/>
                </a:path>
              </a:pathLst>
            </a:custGeom>
            <a:solidFill>
              <a:schemeClr val="accent1"/>
            </a:solidFill>
            <a:ln w="6804" cap="flat">
              <a:noFill/>
              <a:prstDash val="solid"/>
              <a:miter/>
            </a:ln>
          </p:spPr>
          <p:txBody>
            <a:bodyPr rtlCol="0" anchor="ctr"/>
            <a:lstStyle/>
            <a:p>
              <a:endParaRPr lang="en-US"/>
            </a:p>
          </p:txBody>
        </p:sp>
        <p:grpSp>
          <p:nvGrpSpPr>
            <p:cNvPr id="14" name="Group 13">
              <a:extLst>
                <a:ext uri="{FF2B5EF4-FFF2-40B4-BE49-F238E27FC236}">
                  <a16:creationId xmlns:a16="http://schemas.microsoft.com/office/drawing/2014/main" xmlns="" id="{1F3C37DB-B814-413E-B87E-66D173097D3F}"/>
                </a:ext>
              </a:extLst>
            </p:cNvPr>
            <p:cNvGrpSpPr/>
            <p:nvPr/>
          </p:nvGrpSpPr>
          <p:grpSpPr>
            <a:xfrm>
              <a:off x="-711608" y="5658084"/>
              <a:ext cx="655351" cy="517912"/>
              <a:chOff x="5268098" y="5667609"/>
              <a:chExt cx="655351" cy="517912"/>
            </a:xfrm>
          </p:grpSpPr>
          <p:sp>
            <p:nvSpPr>
              <p:cNvPr id="16" name="Freeform: Shape 15">
                <a:extLst>
                  <a:ext uri="{FF2B5EF4-FFF2-40B4-BE49-F238E27FC236}">
                    <a16:creationId xmlns:a16="http://schemas.microsoft.com/office/drawing/2014/main" xmlns="" id="{7EB85841-20E3-4B2B-8973-E00BEF9845D4}"/>
                  </a:ext>
                </a:extLst>
              </p:cNvPr>
              <p:cNvSpPr/>
              <p:nvPr/>
            </p:nvSpPr>
            <p:spPr>
              <a:xfrm>
                <a:off x="5268098" y="5667609"/>
                <a:ext cx="517912" cy="517912"/>
              </a:xfrm>
              <a:custGeom>
                <a:avLst/>
                <a:gdLst>
                  <a:gd name="connsiteX0" fmla="*/ 460475 w 517912"/>
                  <a:gd name="connsiteY0" fmla="*/ 259443 h 517912"/>
                  <a:gd name="connsiteX1" fmla="*/ 259443 w 517912"/>
                  <a:gd name="connsiteY1" fmla="*/ 460475 h 517912"/>
                  <a:gd name="connsiteX2" fmla="*/ 58411 w 517912"/>
                  <a:gd name="connsiteY2" fmla="*/ 259443 h 517912"/>
                  <a:gd name="connsiteX3" fmla="*/ 259443 w 517912"/>
                  <a:gd name="connsiteY3" fmla="*/ 58411 h 517912"/>
                  <a:gd name="connsiteX4" fmla="*/ 460475 w 517912"/>
                  <a:gd name="connsiteY4" fmla="*/ 259443 h 517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912" h="517912">
                    <a:moveTo>
                      <a:pt x="460475" y="259443"/>
                    </a:moveTo>
                    <a:cubicBezTo>
                      <a:pt x="460475" y="370470"/>
                      <a:pt x="370470" y="460475"/>
                      <a:pt x="259443" y="460475"/>
                    </a:cubicBezTo>
                    <a:cubicBezTo>
                      <a:pt x="148416" y="460475"/>
                      <a:pt x="58411" y="370470"/>
                      <a:pt x="58411" y="259443"/>
                    </a:cubicBezTo>
                    <a:cubicBezTo>
                      <a:pt x="58411" y="148416"/>
                      <a:pt x="148416" y="58411"/>
                      <a:pt x="259443" y="58411"/>
                    </a:cubicBezTo>
                    <a:cubicBezTo>
                      <a:pt x="370470" y="58411"/>
                      <a:pt x="460475" y="148416"/>
                      <a:pt x="460475" y="259443"/>
                    </a:cubicBezTo>
                    <a:close/>
                  </a:path>
                </a:pathLst>
              </a:custGeom>
              <a:noFill/>
              <a:ln w="108857" cap="flat">
                <a:solidFill>
                  <a:schemeClr val="accent1"/>
                </a:solidFill>
                <a:prstDash val="solid"/>
                <a:miter/>
              </a:ln>
            </p:spPr>
            <p:txBody>
              <a:bodyPr rtlCol="0" anchor="ctr"/>
              <a:lstStyle/>
              <a:p>
                <a:endParaRPr lang="en-US"/>
              </a:p>
            </p:txBody>
          </p:sp>
          <p:sp>
            <p:nvSpPr>
              <p:cNvPr id="17" name="Rectangle: Rounded Corners 16">
                <a:extLst>
                  <a:ext uri="{FF2B5EF4-FFF2-40B4-BE49-F238E27FC236}">
                    <a16:creationId xmlns:a16="http://schemas.microsoft.com/office/drawing/2014/main" xmlns="" id="{50CB10DD-AABC-4EC4-BAD8-E9E469ADD706}"/>
                  </a:ext>
                </a:extLst>
              </p:cNvPr>
              <p:cNvSpPr/>
              <p:nvPr/>
            </p:nvSpPr>
            <p:spPr>
              <a:xfrm>
                <a:off x="5724922" y="5874289"/>
                <a:ext cx="198527" cy="129468"/>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a:extLst>
                <a:ext uri="{FF2B5EF4-FFF2-40B4-BE49-F238E27FC236}">
                  <a16:creationId xmlns:a16="http://schemas.microsoft.com/office/drawing/2014/main" xmlns="" id="{3EB82D89-C9A8-4B16-9538-883DA044007E}"/>
                </a:ext>
              </a:extLst>
            </p:cNvPr>
            <p:cNvSpPr/>
            <p:nvPr/>
          </p:nvSpPr>
          <p:spPr>
            <a:xfrm>
              <a:off x="-343344" y="5898145"/>
              <a:ext cx="7817569" cy="653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38316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6_Images &amp; Contents Layout">
    <p:spTree>
      <p:nvGrpSpPr>
        <p:cNvPr id="1" name=""/>
        <p:cNvGrpSpPr/>
        <p:nvPr/>
      </p:nvGrpSpPr>
      <p:grpSpPr>
        <a:xfrm>
          <a:off x="0" y="0"/>
          <a:ext cx="0" cy="0"/>
          <a:chOff x="0" y="0"/>
          <a:chExt cx="0" cy="0"/>
        </a:xfrm>
      </p:grpSpPr>
      <p:sp>
        <p:nvSpPr>
          <p:cNvPr id="10" name="Picture Placeholder 10">
            <a:extLst>
              <a:ext uri="{FF2B5EF4-FFF2-40B4-BE49-F238E27FC236}">
                <a16:creationId xmlns:a16="http://schemas.microsoft.com/office/drawing/2014/main" xmlns="" id="{037E98C1-EDB9-4998-B244-222AB3F04CD0}"/>
              </a:ext>
            </a:extLst>
          </p:cNvPr>
          <p:cNvSpPr>
            <a:spLocks noGrp="1"/>
          </p:cNvSpPr>
          <p:nvPr>
            <p:ph type="pic" sz="quarter" idx="10" hasCustomPrompt="1"/>
          </p:nvPr>
        </p:nvSpPr>
        <p:spPr>
          <a:xfrm>
            <a:off x="0" y="1455235"/>
            <a:ext cx="12192000" cy="2908535"/>
          </a:xfrm>
          <a:prstGeom prst="rect">
            <a:avLst/>
          </a:prstGeom>
          <a:solidFill>
            <a:srgbClr val="BEBFBF">
              <a:alpha val="30000"/>
            </a:srgbClr>
          </a:solidFill>
        </p:spPr>
        <p:txBody>
          <a:bodyPr tIns="324000" anchor="ctr"/>
          <a:lstStyle>
            <a:lvl1pPr marL="0" marR="0" indent="0" algn="ctr" defTabSz="914400" rtl="0" eaLnBrk="1" fontAlgn="auto" latinLnBrk="1" hangingPunct="1">
              <a:lnSpc>
                <a:spcPct val="100000"/>
              </a:lnSpc>
              <a:spcBef>
                <a:spcPct val="20000"/>
              </a:spcBef>
              <a:spcAft>
                <a:spcPts val="0"/>
              </a:spcAft>
              <a:buClrTx/>
              <a:buSzTx/>
              <a:buFont typeface="Arial" pitchFamily="34" charset="0"/>
              <a:buNone/>
              <a:tabLst/>
              <a:defRPr sz="1200">
                <a:latin typeface="+mn-lt"/>
                <a:cs typeface="Arial" pitchFamily="34" charset="0"/>
              </a:defRPr>
            </a:lvl1pPr>
          </a:lstStyle>
          <a:p>
            <a:r>
              <a:rPr lang="en-US" altLang="ko-KR" dirty="0"/>
              <a:t>Insert Your Image and Sent to Back</a:t>
            </a:r>
            <a:endParaRPr lang="ko-KR" altLang="en-US" dirty="0"/>
          </a:p>
          <a:p>
            <a:endParaRPr lang="ko-KR" altLang="en-US" dirty="0"/>
          </a:p>
        </p:txBody>
      </p:sp>
      <p:sp>
        <p:nvSpPr>
          <p:cNvPr id="4" name="Rectangle 3"/>
          <p:cNvSpPr/>
          <p:nvPr userDrawn="1"/>
        </p:nvSpPr>
        <p:spPr>
          <a:xfrm>
            <a:off x="0" y="1255759"/>
            <a:ext cx="12192000" cy="21381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ltLang="ko-KR" sz="1800" dirty="0"/>
              <a:t>                     </a:t>
            </a:r>
            <a:endParaRPr lang="ko-KR" altLang="en-US" sz="1800" dirty="0"/>
          </a:p>
        </p:txBody>
      </p:sp>
      <p:sp>
        <p:nvSpPr>
          <p:cNvPr id="11" name="Freeform: Shape 10">
            <a:extLst>
              <a:ext uri="{FF2B5EF4-FFF2-40B4-BE49-F238E27FC236}">
                <a16:creationId xmlns:a16="http://schemas.microsoft.com/office/drawing/2014/main" xmlns="" id="{EDA2D9C9-F129-4617-B03C-AC1669105869}"/>
              </a:ext>
            </a:extLst>
          </p:cNvPr>
          <p:cNvSpPr/>
          <p:nvPr userDrawn="1"/>
        </p:nvSpPr>
        <p:spPr>
          <a:xfrm>
            <a:off x="-20054" y="5839006"/>
            <a:ext cx="12212054" cy="794973"/>
          </a:xfrm>
          <a:custGeom>
            <a:avLst/>
            <a:gdLst>
              <a:gd name="connsiteX0" fmla="*/ 5579269 w 5600700"/>
              <a:gd name="connsiteY0" fmla="*/ 285274 h 409575"/>
              <a:gd name="connsiteX1" fmla="*/ 5285899 w 5600700"/>
              <a:gd name="connsiteY1" fmla="*/ 285274 h 409575"/>
              <a:gd name="connsiteX2" fmla="*/ 5258277 w 5600700"/>
              <a:gd name="connsiteY2" fmla="*/ 323374 h 409575"/>
              <a:gd name="connsiteX3" fmla="*/ 5218271 w 5600700"/>
              <a:gd name="connsiteY3" fmla="*/ 153829 h 409575"/>
              <a:gd name="connsiteX4" fmla="*/ 5182077 w 5600700"/>
              <a:gd name="connsiteY4" fmla="*/ 285274 h 409575"/>
              <a:gd name="connsiteX5" fmla="*/ 5094446 w 5600700"/>
              <a:gd name="connsiteY5" fmla="*/ 285274 h 409575"/>
              <a:gd name="connsiteX6" fmla="*/ 5081111 w 5600700"/>
              <a:gd name="connsiteY6" fmla="*/ 335756 h 409575"/>
              <a:gd name="connsiteX7" fmla="*/ 5057299 w 5600700"/>
              <a:gd name="connsiteY7" fmla="*/ 277654 h 409575"/>
              <a:gd name="connsiteX8" fmla="*/ 5033486 w 5600700"/>
              <a:gd name="connsiteY8" fmla="*/ 322421 h 409575"/>
              <a:gd name="connsiteX9" fmla="*/ 4988719 w 5600700"/>
              <a:gd name="connsiteY9" fmla="*/ 21431 h 409575"/>
              <a:gd name="connsiteX10" fmla="*/ 4933474 w 5600700"/>
              <a:gd name="connsiteY10" fmla="*/ 393859 h 409575"/>
              <a:gd name="connsiteX11" fmla="*/ 4912519 w 5600700"/>
              <a:gd name="connsiteY11" fmla="*/ 285274 h 409575"/>
              <a:gd name="connsiteX12" fmla="*/ 4686777 w 5600700"/>
              <a:gd name="connsiteY12" fmla="*/ 285274 h 409575"/>
              <a:gd name="connsiteX13" fmla="*/ 4657249 w 5600700"/>
              <a:gd name="connsiteY13" fmla="*/ 344329 h 409575"/>
              <a:gd name="connsiteX14" fmla="*/ 4622006 w 5600700"/>
              <a:gd name="connsiteY14" fmla="*/ 150971 h 409575"/>
              <a:gd name="connsiteX15" fmla="*/ 4579144 w 5600700"/>
              <a:gd name="connsiteY15" fmla="*/ 285274 h 409575"/>
              <a:gd name="connsiteX16" fmla="*/ 4492466 w 5600700"/>
              <a:gd name="connsiteY16" fmla="*/ 285274 h 409575"/>
              <a:gd name="connsiteX17" fmla="*/ 4467702 w 5600700"/>
              <a:gd name="connsiteY17" fmla="*/ 322421 h 409575"/>
              <a:gd name="connsiteX18" fmla="*/ 4441984 w 5600700"/>
              <a:gd name="connsiteY18" fmla="*/ 275749 h 409575"/>
              <a:gd name="connsiteX19" fmla="*/ 4408646 w 5600700"/>
              <a:gd name="connsiteY19" fmla="*/ 336709 h 409575"/>
              <a:gd name="connsiteX20" fmla="*/ 4377214 w 5600700"/>
              <a:gd name="connsiteY20" fmla="*/ 72866 h 409575"/>
              <a:gd name="connsiteX21" fmla="*/ 4336256 w 5600700"/>
              <a:gd name="connsiteY21" fmla="*/ 377666 h 409575"/>
              <a:gd name="connsiteX22" fmla="*/ 4308634 w 5600700"/>
              <a:gd name="connsiteY22" fmla="*/ 285274 h 409575"/>
              <a:gd name="connsiteX23" fmla="*/ 4239102 w 5600700"/>
              <a:gd name="connsiteY23" fmla="*/ 285274 h 409575"/>
              <a:gd name="connsiteX24" fmla="*/ 4210527 w 5600700"/>
              <a:gd name="connsiteY24" fmla="*/ 237649 h 409575"/>
              <a:gd name="connsiteX25" fmla="*/ 4178141 w 5600700"/>
              <a:gd name="connsiteY25" fmla="*/ 285274 h 409575"/>
              <a:gd name="connsiteX26" fmla="*/ 21431 w 5600700"/>
              <a:gd name="connsiteY26" fmla="*/ 285274 h 409575"/>
              <a:gd name="connsiteX0" fmla="*/ 5196891 w 5196891"/>
              <a:gd name="connsiteY0" fmla="*/ 263843 h 372428"/>
              <a:gd name="connsiteX1" fmla="*/ 4903521 w 5196891"/>
              <a:gd name="connsiteY1" fmla="*/ 263843 h 372428"/>
              <a:gd name="connsiteX2" fmla="*/ 4875899 w 5196891"/>
              <a:gd name="connsiteY2" fmla="*/ 301943 h 372428"/>
              <a:gd name="connsiteX3" fmla="*/ 4835893 w 5196891"/>
              <a:gd name="connsiteY3" fmla="*/ 132398 h 372428"/>
              <a:gd name="connsiteX4" fmla="*/ 4799699 w 5196891"/>
              <a:gd name="connsiteY4" fmla="*/ 263843 h 372428"/>
              <a:gd name="connsiteX5" fmla="*/ 4712068 w 5196891"/>
              <a:gd name="connsiteY5" fmla="*/ 263843 h 372428"/>
              <a:gd name="connsiteX6" fmla="*/ 4698733 w 5196891"/>
              <a:gd name="connsiteY6" fmla="*/ 314325 h 372428"/>
              <a:gd name="connsiteX7" fmla="*/ 4674921 w 5196891"/>
              <a:gd name="connsiteY7" fmla="*/ 256223 h 372428"/>
              <a:gd name="connsiteX8" fmla="*/ 4651108 w 5196891"/>
              <a:gd name="connsiteY8" fmla="*/ 300990 h 372428"/>
              <a:gd name="connsiteX9" fmla="*/ 4606341 w 5196891"/>
              <a:gd name="connsiteY9" fmla="*/ 0 h 372428"/>
              <a:gd name="connsiteX10" fmla="*/ 4551096 w 5196891"/>
              <a:gd name="connsiteY10" fmla="*/ 372428 h 372428"/>
              <a:gd name="connsiteX11" fmla="*/ 4530141 w 5196891"/>
              <a:gd name="connsiteY11" fmla="*/ 263843 h 372428"/>
              <a:gd name="connsiteX12" fmla="*/ 4304399 w 5196891"/>
              <a:gd name="connsiteY12" fmla="*/ 263843 h 372428"/>
              <a:gd name="connsiteX13" fmla="*/ 4274871 w 5196891"/>
              <a:gd name="connsiteY13" fmla="*/ 322898 h 372428"/>
              <a:gd name="connsiteX14" fmla="*/ 4239628 w 5196891"/>
              <a:gd name="connsiteY14" fmla="*/ 129540 h 372428"/>
              <a:gd name="connsiteX15" fmla="*/ 4196766 w 5196891"/>
              <a:gd name="connsiteY15" fmla="*/ 263843 h 372428"/>
              <a:gd name="connsiteX16" fmla="*/ 4110088 w 5196891"/>
              <a:gd name="connsiteY16" fmla="*/ 263843 h 372428"/>
              <a:gd name="connsiteX17" fmla="*/ 4085324 w 5196891"/>
              <a:gd name="connsiteY17" fmla="*/ 300990 h 372428"/>
              <a:gd name="connsiteX18" fmla="*/ 4059606 w 5196891"/>
              <a:gd name="connsiteY18" fmla="*/ 254318 h 372428"/>
              <a:gd name="connsiteX19" fmla="*/ 4026268 w 5196891"/>
              <a:gd name="connsiteY19" fmla="*/ 315278 h 372428"/>
              <a:gd name="connsiteX20" fmla="*/ 3994836 w 5196891"/>
              <a:gd name="connsiteY20" fmla="*/ 51435 h 372428"/>
              <a:gd name="connsiteX21" fmla="*/ 3953878 w 5196891"/>
              <a:gd name="connsiteY21" fmla="*/ 356235 h 372428"/>
              <a:gd name="connsiteX22" fmla="*/ 3926256 w 5196891"/>
              <a:gd name="connsiteY22" fmla="*/ 263843 h 372428"/>
              <a:gd name="connsiteX23" fmla="*/ 3856724 w 5196891"/>
              <a:gd name="connsiteY23" fmla="*/ 263843 h 372428"/>
              <a:gd name="connsiteX24" fmla="*/ 3828149 w 5196891"/>
              <a:gd name="connsiteY24" fmla="*/ 216218 h 372428"/>
              <a:gd name="connsiteX25" fmla="*/ 3795763 w 5196891"/>
              <a:gd name="connsiteY25" fmla="*/ 263843 h 372428"/>
              <a:gd name="connsiteX26" fmla="*/ 0 w 5196891"/>
              <a:gd name="connsiteY26" fmla="*/ 275874 h 372428"/>
              <a:gd name="connsiteX0" fmla="*/ 5196891 w 5196891"/>
              <a:gd name="connsiteY0" fmla="*/ 263843 h 372428"/>
              <a:gd name="connsiteX1" fmla="*/ 4903521 w 5196891"/>
              <a:gd name="connsiteY1" fmla="*/ 263843 h 372428"/>
              <a:gd name="connsiteX2" fmla="*/ 4875899 w 5196891"/>
              <a:gd name="connsiteY2" fmla="*/ 301943 h 372428"/>
              <a:gd name="connsiteX3" fmla="*/ 4835893 w 5196891"/>
              <a:gd name="connsiteY3" fmla="*/ 132398 h 372428"/>
              <a:gd name="connsiteX4" fmla="*/ 4799699 w 5196891"/>
              <a:gd name="connsiteY4" fmla="*/ 263843 h 372428"/>
              <a:gd name="connsiteX5" fmla="*/ 4712068 w 5196891"/>
              <a:gd name="connsiteY5" fmla="*/ 263843 h 372428"/>
              <a:gd name="connsiteX6" fmla="*/ 4698733 w 5196891"/>
              <a:gd name="connsiteY6" fmla="*/ 314325 h 372428"/>
              <a:gd name="connsiteX7" fmla="*/ 4674921 w 5196891"/>
              <a:gd name="connsiteY7" fmla="*/ 256223 h 372428"/>
              <a:gd name="connsiteX8" fmla="*/ 4651108 w 5196891"/>
              <a:gd name="connsiteY8" fmla="*/ 300990 h 372428"/>
              <a:gd name="connsiteX9" fmla="*/ 4606341 w 5196891"/>
              <a:gd name="connsiteY9" fmla="*/ 0 h 372428"/>
              <a:gd name="connsiteX10" fmla="*/ 4551096 w 5196891"/>
              <a:gd name="connsiteY10" fmla="*/ 372428 h 372428"/>
              <a:gd name="connsiteX11" fmla="*/ 4530141 w 5196891"/>
              <a:gd name="connsiteY11" fmla="*/ 263843 h 372428"/>
              <a:gd name="connsiteX12" fmla="*/ 4304399 w 5196891"/>
              <a:gd name="connsiteY12" fmla="*/ 263843 h 372428"/>
              <a:gd name="connsiteX13" fmla="*/ 4274871 w 5196891"/>
              <a:gd name="connsiteY13" fmla="*/ 322898 h 372428"/>
              <a:gd name="connsiteX14" fmla="*/ 4239628 w 5196891"/>
              <a:gd name="connsiteY14" fmla="*/ 129540 h 372428"/>
              <a:gd name="connsiteX15" fmla="*/ 4196766 w 5196891"/>
              <a:gd name="connsiteY15" fmla="*/ 263843 h 372428"/>
              <a:gd name="connsiteX16" fmla="*/ 4110088 w 5196891"/>
              <a:gd name="connsiteY16" fmla="*/ 263843 h 372428"/>
              <a:gd name="connsiteX17" fmla="*/ 4085324 w 5196891"/>
              <a:gd name="connsiteY17" fmla="*/ 300990 h 372428"/>
              <a:gd name="connsiteX18" fmla="*/ 4059606 w 5196891"/>
              <a:gd name="connsiteY18" fmla="*/ 254318 h 372428"/>
              <a:gd name="connsiteX19" fmla="*/ 4026268 w 5196891"/>
              <a:gd name="connsiteY19" fmla="*/ 315278 h 372428"/>
              <a:gd name="connsiteX20" fmla="*/ 3994836 w 5196891"/>
              <a:gd name="connsiteY20" fmla="*/ 51435 h 372428"/>
              <a:gd name="connsiteX21" fmla="*/ 3953878 w 5196891"/>
              <a:gd name="connsiteY21" fmla="*/ 356235 h 372428"/>
              <a:gd name="connsiteX22" fmla="*/ 3926256 w 5196891"/>
              <a:gd name="connsiteY22" fmla="*/ 263843 h 372428"/>
              <a:gd name="connsiteX23" fmla="*/ 3856724 w 5196891"/>
              <a:gd name="connsiteY23" fmla="*/ 263843 h 372428"/>
              <a:gd name="connsiteX24" fmla="*/ 3828149 w 5196891"/>
              <a:gd name="connsiteY24" fmla="*/ 216218 h 372428"/>
              <a:gd name="connsiteX25" fmla="*/ 3795763 w 5196891"/>
              <a:gd name="connsiteY25" fmla="*/ 263843 h 372428"/>
              <a:gd name="connsiteX26" fmla="*/ 0 w 5196891"/>
              <a:gd name="connsiteY26" fmla="*/ 263842 h 372428"/>
              <a:gd name="connsiteX0" fmla="*/ 5698543 w 5698543"/>
              <a:gd name="connsiteY0" fmla="*/ 252570 h 372428"/>
              <a:gd name="connsiteX1" fmla="*/ 4903521 w 5698543"/>
              <a:gd name="connsiteY1" fmla="*/ 263843 h 372428"/>
              <a:gd name="connsiteX2" fmla="*/ 4875899 w 5698543"/>
              <a:gd name="connsiteY2" fmla="*/ 301943 h 372428"/>
              <a:gd name="connsiteX3" fmla="*/ 4835893 w 5698543"/>
              <a:gd name="connsiteY3" fmla="*/ 132398 h 372428"/>
              <a:gd name="connsiteX4" fmla="*/ 4799699 w 5698543"/>
              <a:gd name="connsiteY4" fmla="*/ 263843 h 372428"/>
              <a:gd name="connsiteX5" fmla="*/ 4712068 w 5698543"/>
              <a:gd name="connsiteY5" fmla="*/ 263843 h 372428"/>
              <a:gd name="connsiteX6" fmla="*/ 4698733 w 5698543"/>
              <a:gd name="connsiteY6" fmla="*/ 314325 h 372428"/>
              <a:gd name="connsiteX7" fmla="*/ 4674921 w 5698543"/>
              <a:gd name="connsiteY7" fmla="*/ 256223 h 372428"/>
              <a:gd name="connsiteX8" fmla="*/ 4651108 w 5698543"/>
              <a:gd name="connsiteY8" fmla="*/ 300990 h 372428"/>
              <a:gd name="connsiteX9" fmla="*/ 4606341 w 5698543"/>
              <a:gd name="connsiteY9" fmla="*/ 0 h 372428"/>
              <a:gd name="connsiteX10" fmla="*/ 4551096 w 5698543"/>
              <a:gd name="connsiteY10" fmla="*/ 372428 h 372428"/>
              <a:gd name="connsiteX11" fmla="*/ 4530141 w 5698543"/>
              <a:gd name="connsiteY11" fmla="*/ 263843 h 372428"/>
              <a:gd name="connsiteX12" fmla="*/ 4304399 w 5698543"/>
              <a:gd name="connsiteY12" fmla="*/ 263843 h 372428"/>
              <a:gd name="connsiteX13" fmla="*/ 4274871 w 5698543"/>
              <a:gd name="connsiteY13" fmla="*/ 322898 h 372428"/>
              <a:gd name="connsiteX14" fmla="*/ 4239628 w 5698543"/>
              <a:gd name="connsiteY14" fmla="*/ 129540 h 372428"/>
              <a:gd name="connsiteX15" fmla="*/ 4196766 w 5698543"/>
              <a:gd name="connsiteY15" fmla="*/ 263843 h 372428"/>
              <a:gd name="connsiteX16" fmla="*/ 4110088 w 5698543"/>
              <a:gd name="connsiteY16" fmla="*/ 263843 h 372428"/>
              <a:gd name="connsiteX17" fmla="*/ 4085324 w 5698543"/>
              <a:gd name="connsiteY17" fmla="*/ 300990 h 372428"/>
              <a:gd name="connsiteX18" fmla="*/ 4059606 w 5698543"/>
              <a:gd name="connsiteY18" fmla="*/ 254318 h 372428"/>
              <a:gd name="connsiteX19" fmla="*/ 4026268 w 5698543"/>
              <a:gd name="connsiteY19" fmla="*/ 315278 h 372428"/>
              <a:gd name="connsiteX20" fmla="*/ 3994836 w 5698543"/>
              <a:gd name="connsiteY20" fmla="*/ 51435 h 372428"/>
              <a:gd name="connsiteX21" fmla="*/ 3953878 w 5698543"/>
              <a:gd name="connsiteY21" fmla="*/ 356235 h 372428"/>
              <a:gd name="connsiteX22" fmla="*/ 3926256 w 5698543"/>
              <a:gd name="connsiteY22" fmla="*/ 263843 h 372428"/>
              <a:gd name="connsiteX23" fmla="*/ 3856724 w 5698543"/>
              <a:gd name="connsiteY23" fmla="*/ 263843 h 372428"/>
              <a:gd name="connsiteX24" fmla="*/ 3828149 w 5698543"/>
              <a:gd name="connsiteY24" fmla="*/ 216218 h 372428"/>
              <a:gd name="connsiteX25" fmla="*/ 3795763 w 5698543"/>
              <a:gd name="connsiteY25" fmla="*/ 263843 h 372428"/>
              <a:gd name="connsiteX26" fmla="*/ 0 w 5698543"/>
              <a:gd name="connsiteY26" fmla="*/ 263842 h 372428"/>
              <a:gd name="connsiteX0" fmla="*/ 5506901 w 5506901"/>
              <a:gd name="connsiteY0" fmla="*/ 252570 h 372428"/>
              <a:gd name="connsiteX1" fmla="*/ 4903521 w 5506901"/>
              <a:gd name="connsiteY1" fmla="*/ 263843 h 372428"/>
              <a:gd name="connsiteX2" fmla="*/ 4875899 w 5506901"/>
              <a:gd name="connsiteY2" fmla="*/ 301943 h 372428"/>
              <a:gd name="connsiteX3" fmla="*/ 4835893 w 5506901"/>
              <a:gd name="connsiteY3" fmla="*/ 132398 h 372428"/>
              <a:gd name="connsiteX4" fmla="*/ 4799699 w 5506901"/>
              <a:gd name="connsiteY4" fmla="*/ 263843 h 372428"/>
              <a:gd name="connsiteX5" fmla="*/ 4712068 w 5506901"/>
              <a:gd name="connsiteY5" fmla="*/ 263843 h 372428"/>
              <a:gd name="connsiteX6" fmla="*/ 4698733 w 5506901"/>
              <a:gd name="connsiteY6" fmla="*/ 314325 h 372428"/>
              <a:gd name="connsiteX7" fmla="*/ 4674921 w 5506901"/>
              <a:gd name="connsiteY7" fmla="*/ 256223 h 372428"/>
              <a:gd name="connsiteX8" fmla="*/ 4651108 w 5506901"/>
              <a:gd name="connsiteY8" fmla="*/ 300990 h 372428"/>
              <a:gd name="connsiteX9" fmla="*/ 4606341 w 5506901"/>
              <a:gd name="connsiteY9" fmla="*/ 0 h 372428"/>
              <a:gd name="connsiteX10" fmla="*/ 4551096 w 5506901"/>
              <a:gd name="connsiteY10" fmla="*/ 372428 h 372428"/>
              <a:gd name="connsiteX11" fmla="*/ 4530141 w 5506901"/>
              <a:gd name="connsiteY11" fmla="*/ 263843 h 372428"/>
              <a:gd name="connsiteX12" fmla="*/ 4304399 w 5506901"/>
              <a:gd name="connsiteY12" fmla="*/ 263843 h 372428"/>
              <a:gd name="connsiteX13" fmla="*/ 4274871 w 5506901"/>
              <a:gd name="connsiteY13" fmla="*/ 322898 h 372428"/>
              <a:gd name="connsiteX14" fmla="*/ 4239628 w 5506901"/>
              <a:gd name="connsiteY14" fmla="*/ 129540 h 372428"/>
              <a:gd name="connsiteX15" fmla="*/ 4196766 w 5506901"/>
              <a:gd name="connsiteY15" fmla="*/ 263843 h 372428"/>
              <a:gd name="connsiteX16" fmla="*/ 4110088 w 5506901"/>
              <a:gd name="connsiteY16" fmla="*/ 263843 h 372428"/>
              <a:gd name="connsiteX17" fmla="*/ 4085324 w 5506901"/>
              <a:gd name="connsiteY17" fmla="*/ 300990 h 372428"/>
              <a:gd name="connsiteX18" fmla="*/ 4059606 w 5506901"/>
              <a:gd name="connsiteY18" fmla="*/ 254318 h 372428"/>
              <a:gd name="connsiteX19" fmla="*/ 4026268 w 5506901"/>
              <a:gd name="connsiteY19" fmla="*/ 315278 h 372428"/>
              <a:gd name="connsiteX20" fmla="*/ 3994836 w 5506901"/>
              <a:gd name="connsiteY20" fmla="*/ 51435 h 372428"/>
              <a:gd name="connsiteX21" fmla="*/ 3953878 w 5506901"/>
              <a:gd name="connsiteY21" fmla="*/ 356235 h 372428"/>
              <a:gd name="connsiteX22" fmla="*/ 3926256 w 5506901"/>
              <a:gd name="connsiteY22" fmla="*/ 263843 h 372428"/>
              <a:gd name="connsiteX23" fmla="*/ 3856724 w 5506901"/>
              <a:gd name="connsiteY23" fmla="*/ 263843 h 372428"/>
              <a:gd name="connsiteX24" fmla="*/ 3828149 w 5506901"/>
              <a:gd name="connsiteY24" fmla="*/ 216218 h 372428"/>
              <a:gd name="connsiteX25" fmla="*/ 3795763 w 5506901"/>
              <a:gd name="connsiteY25" fmla="*/ 263843 h 372428"/>
              <a:gd name="connsiteX26" fmla="*/ 0 w 5506901"/>
              <a:gd name="connsiteY26" fmla="*/ 263842 h 372428"/>
              <a:gd name="connsiteX0" fmla="*/ 5721090 w 5721090"/>
              <a:gd name="connsiteY0" fmla="*/ 252570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58205 h 372428"/>
              <a:gd name="connsiteX0" fmla="*/ 5721090 w 5721090"/>
              <a:gd name="connsiteY0" fmla="*/ 258207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58205 h 372428"/>
              <a:gd name="connsiteX0" fmla="*/ 5721090 w 5721090"/>
              <a:gd name="connsiteY0" fmla="*/ 258207 h 372428"/>
              <a:gd name="connsiteX1" fmla="*/ 5117710 w 5721090"/>
              <a:gd name="connsiteY1" fmla="*/ 263843 h 372428"/>
              <a:gd name="connsiteX2" fmla="*/ 5090088 w 5721090"/>
              <a:gd name="connsiteY2" fmla="*/ 301943 h 372428"/>
              <a:gd name="connsiteX3" fmla="*/ 5050082 w 5721090"/>
              <a:gd name="connsiteY3" fmla="*/ 132398 h 372428"/>
              <a:gd name="connsiteX4" fmla="*/ 5013888 w 5721090"/>
              <a:gd name="connsiteY4" fmla="*/ 263843 h 372428"/>
              <a:gd name="connsiteX5" fmla="*/ 4926257 w 5721090"/>
              <a:gd name="connsiteY5" fmla="*/ 263843 h 372428"/>
              <a:gd name="connsiteX6" fmla="*/ 4912922 w 5721090"/>
              <a:gd name="connsiteY6" fmla="*/ 314325 h 372428"/>
              <a:gd name="connsiteX7" fmla="*/ 4889110 w 5721090"/>
              <a:gd name="connsiteY7" fmla="*/ 256223 h 372428"/>
              <a:gd name="connsiteX8" fmla="*/ 4865297 w 5721090"/>
              <a:gd name="connsiteY8" fmla="*/ 300990 h 372428"/>
              <a:gd name="connsiteX9" fmla="*/ 4820530 w 5721090"/>
              <a:gd name="connsiteY9" fmla="*/ 0 h 372428"/>
              <a:gd name="connsiteX10" fmla="*/ 4765285 w 5721090"/>
              <a:gd name="connsiteY10" fmla="*/ 372428 h 372428"/>
              <a:gd name="connsiteX11" fmla="*/ 4744330 w 5721090"/>
              <a:gd name="connsiteY11" fmla="*/ 263843 h 372428"/>
              <a:gd name="connsiteX12" fmla="*/ 4518588 w 5721090"/>
              <a:gd name="connsiteY12" fmla="*/ 263843 h 372428"/>
              <a:gd name="connsiteX13" fmla="*/ 4489060 w 5721090"/>
              <a:gd name="connsiteY13" fmla="*/ 322898 h 372428"/>
              <a:gd name="connsiteX14" fmla="*/ 4453817 w 5721090"/>
              <a:gd name="connsiteY14" fmla="*/ 129540 h 372428"/>
              <a:gd name="connsiteX15" fmla="*/ 4410955 w 5721090"/>
              <a:gd name="connsiteY15" fmla="*/ 263843 h 372428"/>
              <a:gd name="connsiteX16" fmla="*/ 4324277 w 5721090"/>
              <a:gd name="connsiteY16" fmla="*/ 263843 h 372428"/>
              <a:gd name="connsiteX17" fmla="*/ 4299513 w 5721090"/>
              <a:gd name="connsiteY17" fmla="*/ 300990 h 372428"/>
              <a:gd name="connsiteX18" fmla="*/ 4273795 w 5721090"/>
              <a:gd name="connsiteY18" fmla="*/ 254318 h 372428"/>
              <a:gd name="connsiteX19" fmla="*/ 4240457 w 5721090"/>
              <a:gd name="connsiteY19" fmla="*/ 315278 h 372428"/>
              <a:gd name="connsiteX20" fmla="*/ 4209025 w 5721090"/>
              <a:gd name="connsiteY20" fmla="*/ 51435 h 372428"/>
              <a:gd name="connsiteX21" fmla="*/ 4168067 w 5721090"/>
              <a:gd name="connsiteY21" fmla="*/ 356235 h 372428"/>
              <a:gd name="connsiteX22" fmla="*/ 4140445 w 5721090"/>
              <a:gd name="connsiteY22" fmla="*/ 263843 h 372428"/>
              <a:gd name="connsiteX23" fmla="*/ 4070913 w 5721090"/>
              <a:gd name="connsiteY23" fmla="*/ 263843 h 372428"/>
              <a:gd name="connsiteX24" fmla="*/ 4042338 w 5721090"/>
              <a:gd name="connsiteY24" fmla="*/ 216218 h 372428"/>
              <a:gd name="connsiteX25" fmla="*/ 4009952 w 5721090"/>
              <a:gd name="connsiteY25" fmla="*/ 263843 h 372428"/>
              <a:gd name="connsiteX26" fmla="*/ 0 w 5721090"/>
              <a:gd name="connsiteY26" fmla="*/ 269478 h 3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21090" h="372428">
                <a:moveTo>
                  <a:pt x="5721090" y="258207"/>
                </a:moveTo>
                <a:lnTo>
                  <a:pt x="5117710" y="263843"/>
                </a:lnTo>
                <a:lnTo>
                  <a:pt x="5090088" y="301943"/>
                </a:lnTo>
                <a:lnTo>
                  <a:pt x="5050082" y="132398"/>
                </a:lnTo>
                <a:lnTo>
                  <a:pt x="5013888" y="263843"/>
                </a:lnTo>
                <a:lnTo>
                  <a:pt x="4926257" y="263843"/>
                </a:lnTo>
                <a:lnTo>
                  <a:pt x="4912922" y="314325"/>
                </a:lnTo>
                <a:lnTo>
                  <a:pt x="4889110" y="256223"/>
                </a:lnTo>
                <a:lnTo>
                  <a:pt x="4865297" y="300990"/>
                </a:lnTo>
                <a:lnTo>
                  <a:pt x="4820530" y="0"/>
                </a:lnTo>
                <a:lnTo>
                  <a:pt x="4765285" y="372428"/>
                </a:lnTo>
                <a:lnTo>
                  <a:pt x="4744330" y="263843"/>
                </a:lnTo>
                <a:lnTo>
                  <a:pt x="4518588" y="263843"/>
                </a:lnTo>
                <a:lnTo>
                  <a:pt x="4489060" y="322898"/>
                </a:lnTo>
                <a:lnTo>
                  <a:pt x="4453817" y="129540"/>
                </a:lnTo>
                <a:lnTo>
                  <a:pt x="4410955" y="263843"/>
                </a:lnTo>
                <a:lnTo>
                  <a:pt x="4324277" y="263843"/>
                </a:lnTo>
                <a:lnTo>
                  <a:pt x="4299513" y="300990"/>
                </a:lnTo>
                <a:lnTo>
                  <a:pt x="4273795" y="254318"/>
                </a:lnTo>
                <a:lnTo>
                  <a:pt x="4240457" y="315278"/>
                </a:lnTo>
                <a:lnTo>
                  <a:pt x="4209025" y="51435"/>
                </a:lnTo>
                <a:lnTo>
                  <a:pt x="4168067" y="356235"/>
                </a:lnTo>
                <a:lnTo>
                  <a:pt x="4140445" y="263843"/>
                </a:lnTo>
                <a:lnTo>
                  <a:pt x="4070913" y="263843"/>
                </a:lnTo>
                <a:lnTo>
                  <a:pt x="4042338" y="216218"/>
                </a:lnTo>
                <a:lnTo>
                  <a:pt x="4009952" y="263843"/>
                </a:lnTo>
                <a:lnTo>
                  <a:pt x="0" y="269478"/>
                </a:lnTo>
              </a:path>
            </a:pathLst>
          </a:custGeom>
          <a:noFill/>
          <a:ln w="28575" cap="rnd">
            <a:solidFill>
              <a:schemeClr val="accent1"/>
            </a:solidFill>
            <a:prstDash val="solid"/>
            <a:round/>
          </a:ln>
        </p:spPr>
        <p:txBody>
          <a:bodyPr rtlCol="0" anchor="ctr"/>
          <a:lstStyle/>
          <a:p>
            <a:endParaRPr lang="en-US"/>
          </a:p>
        </p:txBody>
      </p:sp>
    </p:spTree>
    <p:extLst>
      <p:ext uri="{BB962C8B-B14F-4D97-AF65-F5344CB8AC3E}">
        <p14:creationId xmlns:p14="http://schemas.microsoft.com/office/powerpoint/2010/main" val="20666359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7_Images &amp; Contents Layout">
    <p:spTree>
      <p:nvGrpSpPr>
        <p:cNvPr id="1" name=""/>
        <p:cNvGrpSpPr/>
        <p:nvPr/>
      </p:nvGrpSpPr>
      <p:grpSpPr>
        <a:xfrm>
          <a:off x="0" y="0"/>
          <a:ext cx="0" cy="0"/>
          <a:chOff x="0" y="0"/>
          <a:chExt cx="0" cy="0"/>
        </a:xfrm>
      </p:grpSpPr>
      <p:sp>
        <p:nvSpPr>
          <p:cNvPr id="13" name="Rectangle 6">
            <a:extLst>
              <a:ext uri="{FF2B5EF4-FFF2-40B4-BE49-F238E27FC236}">
                <a16:creationId xmlns:a16="http://schemas.microsoft.com/office/drawing/2014/main" xmlns="" id="{72920181-2924-4E1F-891D-E75A99509C25}"/>
              </a:ext>
            </a:extLst>
          </p:cNvPr>
          <p:cNvSpPr/>
          <p:nvPr userDrawn="1"/>
        </p:nvSpPr>
        <p:spPr>
          <a:xfrm>
            <a:off x="-1" y="0"/>
            <a:ext cx="42872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6" name="Picture Placeholder 5"/>
          <p:cNvSpPr>
            <a:spLocks noGrp="1"/>
          </p:cNvSpPr>
          <p:nvPr>
            <p:ph type="pic" sz="quarter" idx="10" hasCustomPrompt="1"/>
          </p:nvPr>
        </p:nvSpPr>
        <p:spPr>
          <a:xfrm>
            <a:off x="3205315" y="535021"/>
            <a:ext cx="3889913" cy="3542051"/>
          </a:xfrm>
          <a:prstGeom prst="rect">
            <a:avLst/>
          </a:prstGeom>
          <a:solidFill>
            <a:schemeClr val="bg1">
              <a:lumMod val="95000"/>
            </a:schemeClr>
          </a:solidFill>
        </p:spPr>
        <p:txBody>
          <a:bodyPr tIns="540000" anchor="ctr"/>
          <a:lstStyle>
            <a:lvl1pPr marL="0" marR="0" indent="0" algn="ctr" defTabSz="914400" rtl="0" eaLnBrk="1" fontAlgn="auto" latinLnBrk="1" hangingPunct="1">
              <a:lnSpc>
                <a:spcPct val="100000"/>
              </a:lnSpc>
              <a:spcBef>
                <a:spcPct val="20000"/>
              </a:spcBef>
              <a:spcAft>
                <a:spcPts val="0"/>
              </a:spcAft>
              <a:buClrTx/>
              <a:buSzTx/>
              <a:buFont typeface="Arial" pitchFamily="34" charset="0"/>
              <a:buNone/>
              <a:tabLst/>
              <a:defRPr sz="1200">
                <a:latin typeface="+mn-lt"/>
                <a:cs typeface="Arial" pitchFamily="34" charset="0"/>
              </a:defRPr>
            </a:lvl1pPr>
          </a:lstStyle>
          <a:p>
            <a:r>
              <a:rPr lang="en-US" altLang="ko-KR" dirty="0"/>
              <a:t>Insert Your Image</a:t>
            </a:r>
            <a:endParaRPr lang="ko-KR" altLang="en-US" dirty="0"/>
          </a:p>
          <a:p>
            <a:endParaRPr lang="ko-KR" altLang="en-US" dirty="0"/>
          </a:p>
        </p:txBody>
      </p:sp>
      <p:sp>
        <p:nvSpPr>
          <p:cNvPr id="16" name="Picture Placeholder 5"/>
          <p:cNvSpPr>
            <a:spLocks noGrp="1"/>
          </p:cNvSpPr>
          <p:nvPr>
            <p:ph type="pic" sz="quarter" idx="12" hasCustomPrompt="1"/>
          </p:nvPr>
        </p:nvSpPr>
        <p:spPr>
          <a:xfrm>
            <a:off x="7244568" y="2025072"/>
            <a:ext cx="2628000" cy="2052000"/>
          </a:xfrm>
          <a:prstGeom prst="rect">
            <a:avLst/>
          </a:prstGeom>
          <a:solidFill>
            <a:schemeClr val="bg1">
              <a:lumMod val="95000"/>
            </a:schemeClr>
          </a:solidFill>
        </p:spPr>
        <p:txBody>
          <a:bodyPr tIns="360000" anchor="ctr"/>
          <a:lstStyle>
            <a:lvl1pPr marL="0" marR="0" indent="0" algn="ctr" defTabSz="914400" rtl="0" eaLnBrk="1" fontAlgn="auto" latinLnBrk="1" hangingPunct="1">
              <a:lnSpc>
                <a:spcPct val="100000"/>
              </a:lnSpc>
              <a:spcBef>
                <a:spcPct val="20000"/>
              </a:spcBef>
              <a:spcAft>
                <a:spcPts val="0"/>
              </a:spcAft>
              <a:buClrTx/>
              <a:buSzTx/>
              <a:buFont typeface="Arial" pitchFamily="34" charset="0"/>
              <a:buNone/>
              <a:tabLst/>
              <a:defRPr sz="1200">
                <a:latin typeface="+mn-lt"/>
                <a:cs typeface="Arial" pitchFamily="34" charset="0"/>
              </a:defRPr>
            </a:lvl1pPr>
          </a:lstStyle>
          <a:p>
            <a:r>
              <a:rPr lang="en-US" altLang="ko-KR" dirty="0"/>
              <a:t>Insert Your Image</a:t>
            </a:r>
            <a:endParaRPr lang="ko-KR" altLang="en-US" dirty="0"/>
          </a:p>
          <a:p>
            <a:endParaRPr lang="ko-KR" altLang="en-US" dirty="0"/>
          </a:p>
        </p:txBody>
      </p:sp>
      <p:sp>
        <p:nvSpPr>
          <p:cNvPr id="14" name="Picture Placeholder 5"/>
          <p:cNvSpPr>
            <a:spLocks noGrp="1"/>
          </p:cNvSpPr>
          <p:nvPr>
            <p:ph type="pic" sz="quarter" idx="11" hasCustomPrompt="1"/>
          </p:nvPr>
        </p:nvSpPr>
        <p:spPr>
          <a:xfrm>
            <a:off x="4467228" y="4260714"/>
            <a:ext cx="2628000" cy="2052000"/>
          </a:xfrm>
          <a:prstGeom prst="rect">
            <a:avLst/>
          </a:prstGeom>
          <a:solidFill>
            <a:schemeClr val="bg1">
              <a:lumMod val="95000"/>
            </a:schemeClr>
          </a:solidFill>
        </p:spPr>
        <p:txBody>
          <a:bodyPr tIns="360000" anchor="ctr"/>
          <a:lstStyle>
            <a:lvl1pPr marL="0" marR="0" indent="0" algn="ctr" defTabSz="914400" rtl="0" eaLnBrk="1" fontAlgn="auto" latinLnBrk="1" hangingPunct="1">
              <a:lnSpc>
                <a:spcPct val="100000"/>
              </a:lnSpc>
              <a:spcBef>
                <a:spcPct val="20000"/>
              </a:spcBef>
              <a:spcAft>
                <a:spcPts val="0"/>
              </a:spcAft>
              <a:buClrTx/>
              <a:buSzTx/>
              <a:buFont typeface="Arial" pitchFamily="34" charset="0"/>
              <a:buNone/>
              <a:tabLst/>
              <a:defRPr sz="1200">
                <a:latin typeface="+mn-lt"/>
                <a:cs typeface="Arial" pitchFamily="34" charset="0"/>
              </a:defRPr>
            </a:lvl1pPr>
          </a:lstStyle>
          <a:p>
            <a:r>
              <a:rPr lang="en-US" altLang="ko-KR" dirty="0"/>
              <a:t>Insert Your Image</a:t>
            </a:r>
            <a:endParaRPr lang="ko-KR" altLang="en-US" dirty="0"/>
          </a:p>
          <a:p>
            <a:endParaRPr lang="ko-KR" altLang="en-US" dirty="0"/>
          </a:p>
        </p:txBody>
      </p:sp>
    </p:spTree>
    <p:extLst>
      <p:ext uri="{BB962C8B-B14F-4D97-AF65-F5344CB8AC3E}">
        <p14:creationId xmlns:p14="http://schemas.microsoft.com/office/powerpoint/2010/main" val="36431008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캡션 있는 콘텐츠">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42ADD304-27A2-4440-9E8E-8F11D3F9CA18}"/>
              </a:ext>
            </a:extLst>
          </p:cNvPr>
          <p:cNvSpPr>
            <a:spLocks noGrp="1"/>
          </p:cNvSpPr>
          <p:nvPr>
            <p:ph type="pic" idx="16" hasCustomPrompt="1"/>
          </p:nvPr>
        </p:nvSpPr>
        <p:spPr>
          <a:xfrm>
            <a:off x="0" y="0"/>
            <a:ext cx="8265502" cy="6858000"/>
          </a:xfrm>
          <a:custGeom>
            <a:avLst/>
            <a:gdLst>
              <a:gd name="connsiteX0" fmla="*/ 5195456 w 8265502"/>
              <a:gd name="connsiteY0" fmla="*/ 6338077 h 6858000"/>
              <a:gd name="connsiteX1" fmla="*/ 5918072 w 8265502"/>
              <a:gd name="connsiteY1" fmla="*/ 6338077 h 6858000"/>
              <a:gd name="connsiteX2" fmla="*/ 6178034 w 8265502"/>
              <a:gd name="connsiteY2" fmla="*/ 6858000 h 6858000"/>
              <a:gd name="connsiteX3" fmla="*/ 4935495 w 8265502"/>
              <a:gd name="connsiteY3" fmla="*/ 6858000 h 6858000"/>
              <a:gd name="connsiteX4" fmla="*/ 3119745 w 8265502"/>
              <a:gd name="connsiteY4" fmla="*/ 6338077 h 6858000"/>
              <a:gd name="connsiteX5" fmla="*/ 3842362 w 8265502"/>
              <a:gd name="connsiteY5" fmla="*/ 6338077 h 6858000"/>
              <a:gd name="connsiteX6" fmla="*/ 4102323 w 8265502"/>
              <a:gd name="connsiteY6" fmla="*/ 6858000 h 6858000"/>
              <a:gd name="connsiteX7" fmla="*/ 2859785 w 8265502"/>
              <a:gd name="connsiteY7" fmla="*/ 6858000 h 6858000"/>
              <a:gd name="connsiteX8" fmla="*/ 1044037 w 8265502"/>
              <a:gd name="connsiteY8" fmla="*/ 6338077 h 6858000"/>
              <a:gd name="connsiteX9" fmla="*/ 1766653 w 8265502"/>
              <a:gd name="connsiteY9" fmla="*/ 6338077 h 6858000"/>
              <a:gd name="connsiteX10" fmla="*/ 2026615 w 8265502"/>
              <a:gd name="connsiteY10" fmla="*/ 6858000 h 6858000"/>
              <a:gd name="connsiteX11" fmla="*/ 784076 w 8265502"/>
              <a:gd name="connsiteY11" fmla="*/ 6858000 h 6858000"/>
              <a:gd name="connsiteX12" fmla="*/ 3179 w 8265502"/>
              <a:gd name="connsiteY12" fmla="*/ 5766324 h 6858000"/>
              <a:gd name="connsiteX13" fmla="*/ 725796 w 8265502"/>
              <a:gd name="connsiteY13" fmla="*/ 5766324 h 6858000"/>
              <a:gd name="connsiteX14" fmla="*/ 999515 w 8265502"/>
              <a:gd name="connsiteY14" fmla="*/ 6313762 h 6858000"/>
              <a:gd name="connsiteX15" fmla="*/ 727396 w 8265502"/>
              <a:gd name="connsiteY15" fmla="*/ 6858000 h 6858000"/>
              <a:gd name="connsiteX16" fmla="*/ 1580 w 8265502"/>
              <a:gd name="connsiteY16" fmla="*/ 6858000 h 6858000"/>
              <a:gd name="connsiteX17" fmla="*/ 0 w 8265502"/>
              <a:gd name="connsiteY17" fmla="*/ 6854841 h 6858000"/>
              <a:gd name="connsiteX18" fmla="*/ 0 w 8265502"/>
              <a:gd name="connsiteY18" fmla="*/ 5772682 h 6858000"/>
              <a:gd name="connsiteX19" fmla="*/ 6243369 w 8265502"/>
              <a:gd name="connsiteY19" fmla="*/ 5763125 h 6858000"/>
              <a:gd name="connsiteX20" fmla="*/ 6965986 w 8265502"/>
              <a:gd name="connsiteY20" fmla="*/ 5763125 h 6858000"/>
              <a:gd name="connsiteX21" fmla="*/ 7239705 w 8265502"/>
              <a:gd name="connsiteY21" fmla="*/ 6310563 h 6858000"/>
              <a:gd name="connsiteX22" fmla="*/ 6965986 w 8265502"/>
              <a:gd name="connsiteY22" fmla="*/ 6858000 h 6858000"/>
              <a:gd name="connsiteX23" fmla="*/ 6243369 w 8265502"/>
              <a:gd name="connsiteY23" fmla="*/ 6858000 h 6858000"/>
              <a:gd name="connsiteX24" fmla="*/ 5969650 w 8265502"/>
              <a:gd name="connsiteY24" fmla="*/ 6310563 h 6858000"/>
              <a:gd name="connsiteX25" fmla="*/ 4154596 w 8265502"/>
              <a:gd name="connsiteY25" fmla="*/ 5763125 h 6858000"/>
              <a:gd name="connsiteX26" fmla="*/ 4877213 w 8265502"/>
              <a:gd name="connsiteY26" fmla="*/ 5763125 h 6858000"/>
              <a:gd name="connsiteX27" fmla="*/ 5150931 w 8265502"/>
              <a:gd name="connsiteY27" fmla="*/ 6310563 h 6858000"/>
              <a:gd name="connsiteX28" fmla="*/ 4877213 w 8265502"/>
              <a:gd name="connsiteY28" fmla="*/ 6858000 h 6858000"/>
              <a:gd name="connsiteX29" fmla="*/ 4154596 w 8265502"/>
              <a:gd name="connsiteY29" fmla="*/ 6858000 h 6858000"/>
              <a:gd name="connsiteX30" fmla="*/ 3880878 w 8265502"/>
              <a:gd name="connsiteY30" fmla="*/ 6310563 h 6858000"/>
              <a:gd name="connsiteX31" fmla="*/ 2078889 w 8265502"/>
              <a:gd name="connsiteY31" fmla="*/ 5763125 h 6858000"/>
              <a:gd name="connsiteX32" fmla="*/ 2801506 w 8265502"/>
              <a:gd name="connsiteY32" fmla="*/ 5763125 h 6858000"/>
              <a:gd name="connsiteX33" fmla="*/ 3075225 w 8265502"/>
              <a:gd name="connsiteY33" fmla="*/ 6310563 h 6858000"/>
              <a:gd name="connsiteX34" fmla="*/ 2801506 w 8265502"/>
              <a:gd name="connsiteY34" fmla="*/ 6858000 h 6858000"/>
              <a:gd name="connsiteX35" fmla="*/ 2078889 w 8265502"/>
              <a:gd name="connsiteY35" fmla="*/ 6858000 h 6858000"/>
              <a:gd name="connsiteX36" fmla="*/ 1805170 w 8265502"/>
              <a:gd name="connsiteY36" fmla="*/ 6310563 h 6858000"/>
              <a:gd name="connsiteX37" fmla="*/ 3119748 w 8265502"/>
              <a:gd name="connsiteY37" fmla="*/ 5187603 h 6858000"/>
              <a:gd name="connsiteX38" fmla="*/ 3842364 w 8265502"/>
              <a:gd name="connsiteY38" fmla="*/ 5187603 h 6858000"/>
              <a:gd name="connsiteX39" fmla="*/ 4116083 w 8265502"/>
              <a:gd name="connsiteY39" fmla="*/ 5735041 h 6858000"/>
              <a:gd name="connsiteX40" fmla="*/ 3842364 w 8265502"/>
              <a:gd name="connsiteY40" fmla="*/ 6282478 h 6858000"/>
              <a:gd name="connsiteX41" fmla="*/ 3119748 w 8265502"/>
              <a:gd name="connsiteY41" fmla="*/ 6282478 h 6858000"/>
              <a:gd name="connsiteX42" fmla="*/ 2846030 w 8265502"/>
              <a:gd name="connsiteY42" fmla="*/ 5735041 h 6858000"/>
              <a:gd name="connsiteX43" fmla="*/ 1044038 w 8265502"/>
              <a:gd name="connsiteY43" fmla="*/ 5187603 h 6858000"/>
              <a:gd name="connsiteX44" fmla="*/ 1766654 w 8265502"/>
              <a:gd name="connsiteY44" fmla="*/ 5187603 h 6858000"/>
              <a:gd name="connsiteX45" fmla="*/ 2040373 w 8265502"/>
              <a:gd name="connsiteY45" fmla="*/ 5735041 h 6858000"/>
              <a:gd name="connsiteX46" fmla="*/ 1766654 w 8265502"/>
              <a:gd name="connsiteY46" fmla="*/ 6282478 h 6858000"/>
              <a:gd name="connsiteX47" fmla="*/ 1044038 w 8265502"/>
              <a:gd name="connsiteY47" fmla="*/ 6282478 h 6858000"/>
              <a:gd name="connsiteX48" fmla="*/ 770319 w 8265502"/>
              <a:gd name="connsiteY48" fmla="*/ 5735041 h 6858000"/>
              <a:gd name="connsiteX49" fmla="*/ 4159388 w 8265502"/>
              <a:gd name="connsiteY49" fmla="*/ 4628392 h 6858000"/>
              <a:gd name="connsiteX50" fmla="*/ 4877791 w 8265502"/>
              <a:gd name="connsiteY50" fmla="*/ 4628392 h 6858000"/>
              <a:gd name="connsiteX51" fmla="*/ 5149913 w 8265502"/>
              <a:gd name="connsiteY51" fmla="*/ 5172637 h 6858000"/>
              <a:gd name="connsiteX52" fmla="*/ 4877791 w 8265502"/>
              <a:gd name="connsiteY52" fmla="*/ 5716881 h 6858000"/>
              <a:gd name="connsiteX53" fmla="*/ 4159388 w 8265502"/>
              <a:gd name="connsiteY53" fmla="*/ 5716881 h 6858000"/>
              <a:gd name="connsiteX54" fmla="*/ 3887266 w 8265502"/>
              <a:gd name="connsiteY54" fmla="*/ 5172637 h 6858000"/>
              <a:gd name="connsiteX55" fmla="*/ 2078891 w 8265502"/>
              <a:gd name="connsiteY55" fmla="*/ 4612651 h 6858000"/>
              <a:gd name="connsiteX56" fmla="*/ 2801507 w 8265502"/>
              <a:gd name="connsiteY56" fmla="*/ 4612651 h 6858000"/>
              <a:gd name="connsiteX57" fmla="*/ 3075227 w 8265502"/>
              <a:gd name="connsiteY57" fmla="*/ 5160089 h 6858000"/>
              <a:gd name="connsiteX58" fmla="*/ 2801507 w 8265502"/>
              <a:gd name="connsiteY58" fmla="*/ 5707526 h 6858000"/>
              <a:gd name="connsiteX59" fmla="*/ 2078891 w 8265502"/>
              <a:gd name="connsiteY59" fmla="*/ 5707526 h 6858000"/>
              <a:gd name="connsiteX60" fmla="*/ 1805171 w 8265502"/>
              <a:gd name="connsiteY60" fmla="*/ 5160089 h 6858000"/>
              <a:gd name="connsiteX61" fmla="*/ 3182 w 8265502"/>
              <a:gd name="connsiteY61" fmla="*/ 4612651 h 6858000"/>
              <a:gd name="connsiteX62" fmla="*/ 725798 w 8265502"/>
              <a:gd name="connsiteY62" fmla="*/ 4612651 h 6858000"/>
              <a:gd name="connsiteX63" fmla="*/ 999517 w 8265502"/>
              <a:gd name="connsiteY63" fmla="*/ 5160089 h 6858000"/>
              <a:gd name="connsiteX64" fmla="*/ 725798 w 8265502"/>
              <a:gd name="connsiteY64" fmla="*/ 5707526 h 6858000"/>
              <a:gd name="connsiteX65" fmla="*/ 3182 w 8265502"/>
              <a:gd name="connsiteY65" fmla="*/ 5707526 h 6858000"/>
              <a:gd name="connsiteX66" fmla="*/ 0 w 8265502"/>
              <a:gd name="connsiteY66" fmla="*/ 5701162 h 6858000"/>
              <a:gd name="connsiteX67" fmla="*/ 0 w 8265502"/>
              <a:gd name="connsiteY67" fmla="*/ 4619015 h 6858000"/>
              <a:gd name="connsiteX68" fmla="*/ 5195456 w 8265502"/>
              <a:gd name="connsiteY68" fmla="*/ 4037129 h 6858000"/>
              <a:gd name="connsiteX69" fmla="*/ 5918073 w 8265502"/>
              <a:gd name="connsiteY69" fmla="*/ 4037129 h 6858000"/>
              <a:gd name="connsiteX70" fmla="*/ 6191792 w 8265502"/>
              <a:gd name="connsiteY70" fmla="*/ 4584567 h 6858000"/>
              <a:gd name="connsiteX71" fmla="*/ 5918073 w 8265502"/>
              <a:gd name="connsiteY71" fmla="*/ 5132004 h 6858000"/>
              <a:gd name="connsiteX72" fmla="*/ 5195456 w 8265502"/>
              <a:gd name="connsiteY72" fmla="*/ 5132004 h 6858000"/>
              <a:gd name="connsiteX73" fmla="*/ 4921737 w 8265502"/>
              <a:gd name="connsiteY73" fmla="*/ 4584567 h 6858000"/>
              <a:gd name="connsiteX74" fmla="*/ 3119750 w 8265502"/>
              <a:gd name="connsiteY74" fmla="*/ 4037129 h 6858000"/>
              <a:gd name="connsiteX75" fmla="*/ 3842365 w 8265502"/>
              <a:gd name="connsiteY75" fmla="*/ 4037129 h 6858000"/>
              <a:gd name="connsiteX76" fmla="*/ 4116084 w 8265502"/>
              <a:gd name="connsiteY76" fmla="*/ 4584567 h 6858000"/>
              <a:gd name="connsiteX77" fmla="*/ 3842365 w 8265502"/>
              <a:gd name="connsiteY77" fmla="*/ 5132004 h 6858000"/>
              <a:gd name="connsiteX78" fmla="*/ 3119750 w 8265502"/>
              <a:gd name="connsiteY78" fmla="*/ 5132004 h 6858000"/>
              <a:gd name="connsiteX79" fmla="*/ 2846030 w 8265502"/>
              <a:gd name="connsiteY79" fmla="*/ 4584567 h 6858000"/>
              <a:gd name="connsiteX80" fmla="*/ 1044040 w 8265502"/>
              <a:gd name="connsiteY80" fmla="*/ 4037129 h 6858000"/>
              <a:gd name="connsiteX81" fmla="*/ 1766657 w 8265502"/>
              <a:gd name="connsiteY81" fmla="*/ 4037129 h 6858000"/>
              <a:gd name="connsiteX82" fmla="*/ 2040376 w 8265502"/>
              <a:gd name="connsiteY82" fmla="*/ 4584567 h 6858000"/>
              <a:gd name="connsiteX83" fmla="*/ 1766657 w 8265502"/>
              <a:gd name="connsiteY83" fmla="*/ 5132004 h 6858000"/>
              <a:gd name="connsiteX84" fmla="*/ 1044040 w 8265502"/>
              <a:gd name="connsiteY84" fmla="*/ 5132004 h 6858000"/>
              <a:gd name="connsiteX85" fmla="*/ 770321 w 8265502"/>
              <a:gd name="connsiteY85" fmla="*/ 4584567 h 6858000"/>
              <a:gd name="connsiteX86" fmla="*/ 4159387 w 8265502"/>
              <a:gd name="connsiteY86" fmla="*/ 3463221 h 6858000"/>
              <a:gd name="connsiteX87" fmla="*/ 4877790 w 8265502"/>
              <a:gd name="connsiteY87" fmla="*/ 3463221 h 6858000"/>
              <a:gd name="connsiteX88" fmla="*/ 5149912 w 8265502"/>
              <a:gd name="connsiteY88" fmla="*/ 4007466 h 6858000"/>
              <a:gd name="connsiteX89" fmla="*/ 4877790 w 8265502"/>
              <a:gd name="connsiteY89" fmla="*/ 4551710 h 6858000"/>
              <a:gd name="connsiteX90" fmla="*/ 4159387 w 8265502"/>
              <a:gd name="connsiteY90" fmla="*/ 4551710 h 6858000"/>
              <a:gd name="connsiteX91" fmla="*/ 3887265 w 8265502"/>
              <a:gd name="connsiteY91" fmla="*/ 4007466 h 6858000"/>
              <a:gd name="connsiteX92" fmla="*/ 2078891 w 8265502"/>
              <a:gd name="connsiteY92" fmla="*/ 3458978 h 6858000"/>
              <a:gd name="connsiteX93" fmla="*/ 2801507 w 8265502"/>
              <a:gd name="connsiteY93" fmla="*/ 3458978 h 6858000"/>
              <a:gd name="connsiteX94" fmla="*/ 3075227 w 8265502"/>
              <a:gd name="connsiteY94" fmla="*/ 4006416 h 6858000"/>
              <a:gd name="connsiteX95" fmla="*/ 2801507 w 8265502"/>
              <a:gd name="connsiteY95" fmla="*/ 4553853 h 6858000"/>
              <a:gd name="connsiteX96" fmla="*/ 2078891 w 8265502"/>
              <a:gd name="connsiteY96" fmla="*/ 4553853 h 6858000"/>
              <a:gd name="connsiteX97" fmla="*/ 1805171 w 8265502"/>
              <a:gd name="connsiteY97" fmla="*/ 4006416 h 6858000"/>
              <a:gd name="connsiteX98" fmla="*/ 3182 w 8265502"/>
              <a:gd name="connsiteY98" fmla="*/ 3458978 h 6858000"/>
              <a:gd name="connsiteX99" fmla="*/ 725798 w 8265502"/>
              <a:gd name="connsiteY99" fmla="*/ 3458978 h 6858000"/>
              <a:gd name="connsiteX100" fmla="*/ 999517 w 8265502"/>
              <a:gd name="connsiteY100" fmla="*/ 4006416 h 6858000"/>
              <a:gd name="connsiteX101" fmla="*/ 725798 w 8265502"/>
              <a:gd name="connsiteY101" fmla="*/ 4553853 h 6858000"/>
              <a:gd name="connsiteX102" fmla="*/ 3182 w 8265502"/>
              <a:gd name="connsiteY102" fmla="*/ 4553853 h 6858000"/>
              <a:gd name="connsiteX103" fmla="*/ 0 w 8265502"/>
              <a:gd name="connsiteY103" fmla="*/ 4547489 h 6858000"/>
              <a:gd name="connsiteX104" fmla="*/ 0 w 8265502"/>
              <a:gd name="connsiteY104" fmla="*/ 3465342 h 6858000"/>
              <a:gd name="connsiteX105" fmla="*/ 1044040 w 8265502"/>
              <a:gd name="connsiteY105" fmla="*/ 2883459 h 6858000"/>
              <a:gd name="connsiteX106" fmla="*/ 1766657 w 8265502"/>
              <a:gd name="connsiteY106" fmla="*/ 2883459 h 6858000"/>
              <a:gd name="connsiteX107" fmla="*/ 2040376 w 8265502"/>
              <a:gd name="connsiteY107" fmla="*/ 3430894 h 6858000"/>
              <a:gd name="connsiteX108" fmla="*/ 1766657 w 8265502"/>
              <a:gd name="connsiteY108" fmla="*/ 3978331 h 6858000"/>
              <a:gd name="connsiteX109" fmla="*/ 1044040 w 8265502"/>
              <a:gd name="connsiteY109" fmla="*/ 3978331 h 6858000"/>
              <a:gd name="connsiteX110" fmla="*/ 770321 w 8265502"/>
              <a:gd name="connsiteY110" fmla="*/ 3430894 h 6858000"/>
              <a:gd name="connsiteX111" fmla="*/ 3119750 w 8265502"/>
              <a:gd name="connsiteY111" fmla="*/ 2883459 h 6858000"/>
              <a:gd name="connsiteX112" fmla="*/ 3842365 w 8265502"/>
              <a:gd name="connsiteY112" fmla="*/ 2883459 h 6858000"/>
              <a:gd name="connsiteX113" fmla="*/ 4116084 w 8265502"/>
              <a:gd name="connsiteY113" fmla="*/ 3430894 h 6858000"/>
              <a:gd name="connsiteX114" fmla="*/ 3842365 w 8265502"/>
              <a:gd name="connsiteY114" fmla="*/ 3978331 h 6858000"/>
              <a:gd name="connsiteX115" fmla="*/ 3119750 w 8265502"/>
              <a:gd name="connsiteY115" fmla="*/ 3978331 h 6858000"/>
              <a:gd name="connsiteX116" fmla="*/ 2846030 w 8265502"/>
              <a:gd name="connsiteY116" fmla="*/ 3430894 h 6858000"/>
              <a:gd name="connsiteX117" fmla="*/ 3182 w 8265502"/>
              <a:gd name="connsiteY117" fmla="*/ 2305308 h 6858000"/>
              <a:gd name="connsiteX118" fmla="*/ 725799 w 8265502"/>
              <a:gd name="connsiteY118" fmla="*/ 2305308 h 6858000"/>
              <a:gd name="connsiteX119" fmla="*/ 999517 w 8265502"/>
              <a:gd name="connsiteY119" fmla="*/ 2852746 h 6858000"/>
              <a:gd name="connsiteX120" fmla="*/ 725799 w 8265502"/>
              <a:gd name="connsiteY120" fmla="*/ 3400180 h 6858000"/>
              <a:gd name="connsiteX121" fmla="*/ 3182 w 8265502"/>
              <a:gd name="connsiteY121" fmla="*/ 3400180 h 6858000"/>
              <a:gd name="connsiteX122" fmla="*/ 0 w 8265502"/>
              <a:gd name="connsiteY122" fmla="*/ 3393816 h 6858000"/>
              <a:gd name="connsiteX123" fmla="*/ 0 w 8265502"/>
              <a:gd name="connsiteY123" fmla="*/ 2311672 h 6858000"/>
              <a:gd name="connsiteX124" fmla="*/ 2078891 w 8265502"/>
              <a:gd name="connsiteY124" fmla="*/ 2305306 h 6858000"/>
              <a:gd name="connsiteX125" fmla="*/ 2801507 w 8265502"/>
              <a:gd name="connsiteY125" fmla="*/ 2305306 h 6858000"/>
              <a:gd name="connsiteX126" fmla="*/ 3075227 w 8265502"/>
              <a:gd name="connsiteY126" fmla="*/ 2852744 h 6858000"/>
              <a:gd name="connsiteX127" fmla="*/ 2801507 w 8265502"/>
              <a:gd name="connsiteY127" fmla="*/ 3400179 h 6858000"/>
              <a:gd name="connsiteX128" fmla="*/ 2078891 w 8265502"/>
              <a:gd name="connsiteY128" fmla="*/ 3400179 h 6858000"/>
              <a:gd name="connsiteX129" fmla="*/ 1805171 w 8265502"/>
              <a:gd name="connsiteY129" fmla="*/ 2852744 h 6858000"/>
              <a:gd name="connsiteX130" fmla="*/ 4154597 w 8265502"/>
              <a:gd name="connsiteY130" fmla="*/ 2305305 h 6858000"/>
              <a:gd name="connsiteX131" fmla="*/ 4877214 w 8265502"/>
              <a:gd name="connsiteY131" fmla="*/ 2305305 h 6858000"/>
              <a:gd name="connsiteX132" fmla="*/ 5150933 w 8265502"/>
              <a:gd name="connsiteY132" fmla="*/ 2852744 h 6858000"/>
              <a:gd name="connsiteX133" fmla="*/ 4877214 w 8265502"/>
              <a:gd name="connsiteY133" fmla="*/ 3400179 h 6858000"/>
              <a:gd name="connsiteX134" fmla="*/ 4154597 w 8265502"/>
              <a:gd name="connsiteY134" fmla="*/ 3400179 h 6858000"/>
              <a:gd name="connsiteX135" fmla="*/ 3880879 w 8265502"/>
              <a:gd name="connsiteY135" fmla="*/ 2852744 h 6858000"/>
              <a:gd name="connsiteX136" fmla="*/ 5202046 w 8265502"/>
              <a:gd name="connsiteY136" fmla="*/ 1738266 h 6858000"/>
              <a:gd name="connsiteX137" fmla="*/ 5920449 w 8265502"/>
              <a:gd name="connsiteY137" fmla="*/ 1738266 h 6858000"/>
              <a:gd name="connsiteX138" fmla="*/ 6192571 w 8265502"/>
              <a:gd name="connsiteY138" fmla="*/ 2282511 h 6858000"/>
              <a:gd name="connsiteX139" fmla="*/ 5920449 w 8265502"/>
              <a:gd name="connsiteY139" fmla="*/ 2826755 h 6858000"/>
              <a:gd name="connsiteX140" fmla="*/ 5202046 w 8265502"/>
              <a:gd name="connsiteY140" fmla="*/ 2826755 h 6858000"/>
              <a:gd name="connsiteX141" fmla="*/ 4929924 w 8265502"/>
              <a:gd name="connsiteY141" fmla="*/ 2282511 h 6858000"/>
              <a:gd name="connsiteX142" fmla="*/ 1044040 w 8265502"/>
              <a:gd name="connsiteY142" fmla="*/ 1729785 h 6858000"/>
              <a:gd name="connsiteX143" fmla="*/ 1766657 w 8265502"/>
              <a:gd name="connsiteY143" fmla="*/ 1729785 h 6858000"/>
              <a:gd name="connsiteX144" fmla="*/ 2040376 w 8265502"/>
              <a:gd name="connsiteY144" fmla="*/ 2277224 h 6858000"/>
              <a:gd name="connsiteX145" fmla="*/ 1766657 w 8265502"/>
              <a:gd name="connsiteY145" fmla="*/ 2824659 h 6858000"/>
              <a:gd name="connsiteX146" fmla="*/ 1044040 w 8265502"/>
              <a:gd name="connsiteY146" fmla="*/ 2824659 h 6858000"/>
              <a:gd name="connsiteX147" fmla="*/ 770321 w 8265502"/>
              <a:gd name="connsiteY147" fmla="*/ 2277224 h 6858000"/>
              <a:gd name="connsiteX148" fmla="*/ 3119750 w 8265502"/>
              <a:gd name="connsiteY148" fmla="*/ 1729784 h 6858000"/>
              <a:gd name="connsiteX149" fmla="*/ 3842365 w 8265502"/>
              <a:gd name="connsiteY149" fmla="*/ 1729784 h 6858000"/>
              <a:gd name="connsiteX150" fmla="*/ 4116084 w 8265502"/>
              <a:gd name="connsiteY150" fmla="*/ 2277222 h 6858000"/>
              <a:gd name="connsiteX151" fmla="*/ 3842365 w 8265502"/>
              <a:gd name="connsiteY151" fmla="*/ 2824659 h 6858000"/>
              <a:gd name="connsiteX152" fmla="*/ 3119750 w 8265502"/>
              <a:gd name="connsiteY152" fmla="*/ 2824659 h 6858000"/>
              <a:gd name="connsiteX153" fmla="*/ 2846030 w 8265502"/>
              <a:gd name="connsiteY153" fmla="*/ 2277222 h 6858000"/>
              <a:gd name="connsiteX154" fmla="*/ 3182 w 8265502"/>
              <a:gd name="connsiteY154" fmla="*/ 1151633 h 6858000"/>
              <a:gd name="connsiteX155" fmla="*/ 725799 w 8265502"/>
              <a:gd name="connsiteY155" fmla="*/ 1151633 h 6858000"/>
              <a:gd name="connsiteX156" fmla="*/ 999517 w 8265502"/>
              <a:gd name="connsiteY156" fmla="*/ 1699071 h 6858000"/>
              <a:gd name="connsiteX157" fmla="*/ 725799 w 8265502"/>
              <a:gd name="connsiteY157" fmla="*/ 2246508 h 6858000"/>
              <a:gd name="connsiteX158" fmla="*/ 3182 w 8265502"/>
              <a:gd name="connsiteY158" fmla="*/ 2246508 h 6858000"/>
              <a:gd name="connsiteX159" fmla="*/ 0 w 8265502"/>
              <a:gd name="connsiteY159" fmla="*/ 2240144 h 6858000"/>
              <a:gd name="connsiteX160" fmla="*/ 0 w 8265502"/>
              <a:gd name="connsiteY160" fmla="*/ 1157997 h 6858000"/>
              <a:gd name="connsiteX161" fmla="*/ 2078891 w 8265502"/>
              <a:gd name="connsiteY161" fmla="*/ 1151632 h 6858000"/>
              <a:gd name="connsiteX162" fmla="*/ 2801507 w 8265502"/>
              <a:gd name="connsiteY162" fmla="*/ 1151632 h 6858000"/>
              <a:gd name="connsiteX163" fmla="*/ 3075227 w 8265502"/>
              <a:gd name="connsiteY163" fmla="*/ 1699069 h 6858000"/>
              <a:gd name="connsiteX164" fmla="*/ 2801507 w 8265502"/>
              <a:gd name="connsiteY164" fmla="*/ 2246507 h 6858000"/>
              <a:gd name="connsiteX165" fmla="*/ 2078891 w 8265502"/>
              <a:gd name="connsiteY165" fmla="*/ 2246507 h 6858000"/>
              <a:gd name="connsiteX166" fmla="*/ 1805172 w 8265502"/>
              <a:gd name="connsiteY166" fmla="*/ 1699069 h 6858000"/>
              <a:gd name="connsiteX167" fmla="*/ 4154597 w 8265502"/>
              <a:gd name="connsiteY167" fmla="*/ 1151631 h 6858000"/>
              <a:gd name="connsiteX168" fmla="*/ 4877214 w 8265502"/>
              <a:gd name="connsiteY168" fmla="*/ 1151631 h 6858000"/>
              <a:gd name="connsiteX169" fmla="*/ 5150933 w 8265502"/>
              <a:gd name="connsiteY169" fmla="*/ 1699069 h 6858000"/>
              <a:gd name="connsiteX170" fmla="*/ 4877214 w 8265502"/>
              <a:gd name="connsiteY170" fmla="*/ 2246506 h 6858000"/>
              <a:gd name="connsiteX171" fmla="*/ 4154597 w 8265502"/>
              <a:gd name="connsiteY171" fmla="*/ 2246506 h 6858000"/>
              <a:gd name="connsiteX172" fmla="*/ 3880879 w 8265502"/>
              <a:gd name="connsiteY172" fmla="*/ 1699069 h 6858000"/>
              <a:gd name="connsiteX173" fmla="*/ 1044040 w 8265502"/>
              <a:gd name="connsiteY173" fmla="*/ 576110 h 6858000"/>
              <a:gd name="connsiteX174" fmla="*/ 1766657 w 8265502"/>
              <a:gd name="connsiteY174" fmla="*/ 576110 h 6858000"/>
              <a:gd name="connsiteX175" fmla="*/ 2040377 w 8265502"/>
              <a:gd name="connsiteY175" fmla="*/ 1123549 h 6858000"/>
              <a:gd name="connsiteX176" fmla="*/ 1766657 w 8265502"/>
              <a:gd name="connsiteY176" fmla="*/ 1670985 h 6858000"/>
              <a:gd name="connsiteX177" fmla="*/ 1044040 w 8265502"/>
              <a:gd name="connsiteY177" fmla="*/ 1670985 h 6858000"/>
              <a:gd name="connsiteX178" fmla="*/ 770321 w 8265502"/>
              <a:gd name="connsiteY178" fmla="*/ 1123549 h 6858000"/>
              <a:gd name="connsiteX179" fmla="*/ 3119750 w 8265502"/>
              <a:gd name="connsiteY179" fmla="*/ 576109 h 6858000"/>
              <a:gd name="connsiteX180" fmla="*/ 3842365 w 8265502"/>
              <a:gd name="connsiteY180" fmla="*/ 576109 h 6858000"/>
              <a:gd name="connsiteX181" fmla="*/ 4116084 w 8265502"/>
              <a:gd name="connsiteY181" fmla="*/ 1123547 h 6858000"/>
              <a:gd name="connsiteX182" fmla="*/ 3842365 w 8265502"/>
              <a:gd name="connsiteY182" fmla="*/ 1670984 h 6858000"/>
              <a:gd name="connsiteX183" fmla="*/ 3119750 w 8265502"/>
              <a:gd name="connsiteY183" fmla="*/ 1670984 h 6858000"/>
              <a:gd name="connsiteX184" fmla="*/ 2846030 w 8265502"/>
              <a:gd name="connsiteY184" fmla="*/ 1123547 h 6858000"/>
              <a:gd name="connsiteX185" fmla="*/ 5195456 w 8265502"/>
              <a:gd name="connsiteY185" fmla="*/ 576108 h 6858000"/>
              <a:gd name="connsiteX186" fmla="*/ 5918073 w 8265502"/>
              <a:gd name="connsiteY186" fmla="*/ 576108 h 6858000"/>
              <a:gd name="connsiteX187" fmla="*/ 6191792 w 8265502"/>
              <a:gd name="connsiteY187" fmla="*/ 1123546 h 6858000"/>
              <a:gd name="connsiteX188" fmla="*/ 5918073 w 8265502"/>
              <a:gd name="connsiteY188" fmla="*/ 1670983 h 6858000"/>
              <a:gd name="connsiteX189" fmla="*/ 5195456 w 8265502"/>
              <a:gd name="connsiteY189" fmla="*/ 1670983 h 6858000"/>
              <a:gd name="connsiteX190" fmla="*/ 4921737 w 8265502"/>
              <a:gd name="connsiteY190" fmla="*/ 1123546 h 6858000"/>
              <a:gd name="connsiteX191" fmla="*/ 7025576 w 8265502"/>
              <a:gd name="connsiteY191" fmla="*/ 0 h 6858000"/>
              <a:gd name="connsiteX192" fmla="*/ 8265502 w 8265502"/>
              <a:gd name="connsiteY192" fmla="*/ 0 h 6858000"/>
              <a:gd name="connsiteX193" fmla="*/ 8006847 w 8265502"/>
              <a:gd name="connsiteY193" fmla="*/ 517308 h 6858000"/>
              <a:gd name="connsiteX194" fmla="*/ 7284230 w 8265502"/>
              <a:gd name="connsiteY194" fmla="*/ 517308 h 6858000"/>
              <a:gd name="connsiteX195" fmla="*/ 6242345 w 8265502"/>
              <a:gd name="connsiteY195" fmla="*/ 0 h 6858000"/>
              <a:gd name="connsiteX196" fmla="*/ 6967007 w 8265502"/>
              <a:gd name="connsiteY196" fmla="*/ 0 h 6858000"/>
              <a:gd name="connsiteX197" fmla="*/ 7239703 w 8265502"/>
              <a:gd name="connsiteY197" fmla="*/ 545393 h 6858000"/>
              <a:gd name="connsiteX198" fmla="*/ 6965984 w 8265502"/>
              <a:gd name="connsiteY198" fmla="*/ 1092830 h 6858000"/>
              <a:gd name="connsiteX199" fmla="*/ 6243367 w 8265502"/>
              <a:gd name="connsiteY199" fmla="*/ 1092830 h 6858000"/>
              <a:gd name="connsiteX200" fmla="*/ 5969648 w 8265502"/>
              <a:gd name="connsiteY200" fmla="*/ 545393 h 6858000"/>
              <a:gd name="connsiteX201" fmla="*/ 4936801 w 8265502"/>
              <a:gd name="connsiteY201" fmla="*/ 0 h 6858000"/>
              <a:gd name="connsiteX202" fmla="*/ 6176728 w 8265502"/>
              <a:gd name="connsiteY202" fmla="*/ 0 h 6858000"/>
              <a:gd name="connsiteX203" fmla="*/ 5918073 w 8265502"/>
              <a:gd name="connsiteY203" fmla="*/ 517309 h 6858000"/>
              <a:gd name="connsiteX204" fmla="*/ 5195456 w 8265502"/>
              <a:gd name="connsiteY204" fmla="*/ 517309 h 6858000"/>
              <a:gd name="connsiteX205" fmla="*/ 4153576 w 8265502"/>
              <a:gd name="connsiteY205" fmla="*/ 0 h 6858000"/>
              <a:gd name="connsiteX206" fmla="*/ 4878236 w 8265502"/>
              <a:gd name="connsiteY206" fmla="*/ 0 h 6858000"/>
              <a:gd name="connsiteX207" fmla="*/ 5150933 w 8265502"/>
              <a:gd name="connsiteY207" fmla="*/ 545395 h 6858000"/>
              <a:gd name="connsiteX208" fmla="*/ 4877214 w 8265502"/>
              <a:gd name="connsiteY208" fmla="*/ 1092832 h 6858000"/>
              <a:gd name="connsiteX209" fmla="*/ 4154597 w 8265502"/>
              <a:gd name="connsiteY209" fmla="*/ 1092832 h 6858000"/>
              <a:gd name="connsiteX210" fmla="*/ 3880879 w 8265502"/>
              <a:gd name="connsiteY210" fmla="*/ 545395 h 6858000"/>
              <a:gd name="connsiteX211" fmla="*/ 2861095 w 8265502"/>
              <a:gd name="connsiteY211" fmla="*/ 0 h 6858000"/>
              <a:gd name="connsiteX212" fmla="*/ 4101020 w 8265502"/>
              <a:gd name="connsiteY212" fmla="*/ 0 h 6858000"/>
              <a:gd name="connsiteX213" fmla="*/ 3842365 w 8265502"/>
              <a:gd name="connsiteY213" fmla="*/ 517310 h 6858000"/>
              <a:gd name="connsiteX214" fmla="*/ 3119750 w 8265502"/>
              <a:gd name="connsiteY214" fmla="*/ 517310 h 6858000"/>
              <a:gd name="connsiteX215" fmla="*/ 2077870 w 8265502"/>
              <a:gd name="connsiteY215" fmla="*/ 0 h 6858000"/>
              <a:gd name="connsiteX216" fmla="*/ 2802528 w 8265502"/>
              <a:gd name="connsiteY216" fmla="*/ 0 h 6858000"/>
              <a:gd name="connsiteX217" fmla="*/ 3075227 w 8265502"/>
              <a:gd name="connsiteY217" fmla="*/ 545396 h 6858000"/>
              <a:gd name="connsiteX218" fmla="*/ 2801507 w 8265502"/>
              <a:gd name="connsiteY218" fmla="*/ 1092833 h 6858000"/>
              <a:gd name="connsiteX219" fmla="*/ 2078891 w 8265502"/>
              <a:gd name="connsiteY219" fmla="*/ 1092833 h 6858000"/>
              <a:gd name="connsiteX220" fmla="*/ 1805172 w 8265502"/>
              <a:gd name="connsiteY220" fmla="*/ 545396 h 6858000"/>
              <a:gd name="connsiteX221" fmla="*/ 785384 w 8265502"/>
              <a:gd name="connsiteY221" fmla="*/ 0 h 6858000"/>
              <a:gd name="connsiteX222" fmla="*/ 2025315 w 8265502"/>
              <a:gd name="connsiteY222" fmla="*/ 0 h 6858000"/>
              <a:gd name="connsiteX223" fmla="*/ 1766657 w 8265502"/>
              <a:gd name="connsiteY223" fmla="*/ 517311 h 6858000"/>
              <a:gd name="connsiteX224" fmla="*/ 1044040 w 8265502"/>
              <a:gd name="connsiteY224" fmla="*/ 517311 h 6858000"/>
              <a:gd name="connsiteX225" fmla="*/ 2162 w 8265502"/>
              <a:gd name="connsiteY225" fmla="*/ 0 h 6858000"/>
              <a:gd name="connsiteX226" fmla="*/ 726820 w 8265502"/>
              <a:gd name="connsiteY226" fmla="*/ 0 h 6858000"/>
              <a:gd name="connsiteX227" fmla="*/ 999517 w 8265502"/>
              <a:gd name="connsiteY227" fmla="*/ 545397 h 6858000"/>
              <a:gd name="connsiteX228" fmla="*/ 725799 w 8265502"/>
              <a:gd name="connsiteY228" fmla="*/ 1092834 h 6858000"/>
              <a:gd name="connsiteX229" fmla="*/ 3182 w 8265502"/>
              <a:gd name="connsiteY229" fmla="*/ 1092834 h 6858000"/>
              <a:gd name="connsiteX230" fmla="*/ 0 w 8265502"/>
              <a:gd name="connsiteY230" fmla="*/ 1086470 h 6858000"/>
              <a:gd name="connsiteX231" fmla="*/ 0 w 8265502"/>
              <a:gd name="connsiteY231" fmla="*/ 43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8265502" h="6858000">
                <a:moveTo>
                  <a:pt x="5195456" y="6338077"/>
                </a:moveTo>
                <a:lnTo>
                  <a:pt x="5918072" y="6338077"/>
                </a:lnTo>
                <a:lnTo>
                  <a:pt x="6178034" y="6858000"/>
                </a:lnTo>
                <a:lnTo>
                  <a:pt x="4935495" y="6858000"/>
                </a:lnTo>
                <a:close/>
                <a:moveTo>
                  <a:pt x="3119745" y="6338077"/>
                </a:moveTo>
                <a:lnTo>
                  <a:pt x="3842362" y="6338077"/>
                </a:lnTo>
                <a:lnTo>
                  <a:pt x="4102323" y="6858000"/>
                </a:lnTo>
                <a:lnTo>
                  <a:pt x="2859785" y="6858000"/>
                </a:lnTo>
                <a:close/>
                <a:moveTo>
                  <a:pt x="1044037" y="6338077"/>
                </a:moveTo>
                <a:lnTo>
                  <a:pt x="1766653" y="6338077"/>
                </a:lnTo>
                <a:lnTo>
                  <a:pt x="2026615" y="6858000"/>
                </a:lnTo>
                <a:lnTo>
                  <a:pt x="784076" y="6858000"/>
                </a:lnTo>
                <a:close/>
                <a:moveTo>
                  <a:pt x="3179" y="5766324"/>
                </a:moveTo>
                <a:lnTo>
                  <a:pt x="725796" y="5766324"/>
                </a:lnTo>
                <a:lnTo>
                  <a:pt x="999515" y="6313762"/>
                </a:lnTo>
                <a:lnTo>
                  <a:pt x="727396" y="6858000"/>
                </a:lnTo>
                <a:lnTo>
                  <a:pt x="1580" y="6858000"/>
                </a:lnTo>
                <a:lnTo>
                  <a:pt x="0" y="6854841"/>
                </a:lnTo>
                <a:lnTo>
                  <a:pt x="0" y="5772682"/>
                </a:lnTo>
                <a:close/>
                <a:moveTo>
                  <a:pt x="6243369" y="5763125"/>
                </a:moveTo>
                <a:lnTo>
                  <a:pt x="6965986" y="5763125"/>
                </a:lnTo>
                <a:lnTo>
                  <a:pt x="7239705" y="6310563"/>
                </a:lnTo>
                <a:lnTo>
                  <a:pt x="6965986" y="6858000"/>
                </a:lnTo>
                <a:lnTo>
                  <a:pt x="6243369" y="6858000"/>
                </a:lnTo>
                <a:lnTo>
                  <a:pt x="5969650" y="6310563"/>
                </a:lnTo>
                <a:close/>
                <a:moveTo>
                  <a:pt x="4154596" y="5763125"/>
                </a:moveTo>
                <a:lnTo>
                  <a:pt x="4877213" y="5763125"/>
                </a:lnTo>
                <a:lnTo>
                  <a:pt x="5150931" y="6310563"/>
                </a:lnTo>
                <a:lnTo>
                  <a:pt x="4877213" y="6858000"/>
                </a:lnTo>
                <a:lnTo>
                  <a:pt x="4154596" y="6858000"/>
                </a:lnTo>
                <a:lnTo>
                  <a:pt x="3880878" y="6310563"/>
                </a:lnTo>
                <a:close/>
                <a:moveTo>
                  <a:pt x="2078889" y="5763125"/>
                </a:moveTo>
                <a:lnTo>
                  <a:pt x="2801506" y="5763125"/>
                </a:lnTo>
                <a:lnTo>
                  <a:pt x="3075225" y="6310563"/>
                </a:lnTo>
                <a:lnTo>
                  <a:pt x="2801506" y="6858000"/>
                </a:lnTo>
                <a:lnTo>
                  <a:pt x="2078889" y="6858000"/>
                </a:lnTo>
                <a:lnTo>
                  <a:pt x="1805170" y="6310563"/>
                </a:lnTo>
                <a:close/>
                <a:moveTo>
                  <a:pt x="3119748" y="5187603"/>
                </a:moveTo>
                <a:lnTo>
                  <a:pt x="3842364" y="5187603"/>
                </a:lnTo>
                <a:lnTo>
                  <a:pt x="4116083" y="5735041"/>
                </a:lnTo>
                <a:lnTo>
                  <a:pt x="3842364" y="6282478"/>
                </a:lnTo>
                <a:lnTo>
                  <a:pt x="3119748" y="6282478"/>
                </a:lnTo>
                <a:lnTo>
                  <a:pt x="2846030" y="5735041"/>
                </a:lnTo>
                <a:close/>
                <a:moveTo>
                  <a:pt x="1044038" y="5187603"/>
                </a:moveTo>
                <a:lnTo>
                  <a:pt x="1766654" y="5187603"/>
                </a:lnTo>
                <a:lnTo>
                  <a:pt x="2040373" y="5735041"/>
                </a:lnTo>
                <a:lnTo>
                  <a:pt x="1766654" y="6282478"/>
                </a:lnTo>
                <a:lnTo>
                  <a:pt x="1044038" y="6282478"/>
                </a:lnTo>
                <a:lnTo>
                  <a:pt x="770319" y="5735041"/>
                </a:lnTo>
                <a:close/>
                <a:moveTo>
                  <a:pt x="4159388" y="4628392"/>
                </a:moveTo>
                <a:lnTo>
                  <a:pt x="4877791" y="4628392"/>
                </a:lnTo>
                <a:lnTo>
                  <a:pt x="5149913" y="5172637"/>
                </a:lnTo>
                <a:lnTo>
                  <a:pt x="4877791" y="5716881"/>
                </a:lnTo>
                <a:lnTo>
                  <a:pt x="4159388" y="5716881"/>
                </a:lnTo>
                <a:lnTo>
                  <a:pt x="3887266" y="5172637"/>
                </a:lnTo>
                <a:close/>
                <a:moveTo>
                  <a:pt x="2078891" y="4612651"/>
                </a:moveTo>
                <a:lnTo>
                  <a:pt x="2801507" y="4612651"/>
                </a:lnTo>
                <a:lnTo>
                  <a:pt x="3075227" y="5160089"/>
                </a:lnTo>
                <a:lnTo>
                  <a:pt x="2801507" y="5707526"/>
                </a:lnTo>
                <a:lnTo>
                  <a:pt x="2078891" y="5707526"/>
                </a:lnTo>
                <a:lnTo>
                  <a:pt x="1805171" y="5160089"/>
                </a:lnTo>
                <a:close/>
                <a:moveTo>
                  <a:pt x="3182" y="4612651"/>
                </a:moveTo>
                <a:lnTo>
                  <a:pt x="725798" y="4612651"/>
                </a:lnTo>
                <a:lnTo>
                  <a:pt x="999517" y="5160089"/>
                </a:lnTo>
                <a:lnTo>
                  <a:pt x="725798" y="5707526"/>
                </a:lnTo>
                <a:lnTo>
                  <a:pt x="3182" y="5707526"/>
                </a:lnTo>
                <a:lnTo>
                  <a:pt x="0" y="5701162"/>
                </a:lnTo>
                <a:lnTo>
                  <a:pt x="0" y="4619015"/>
                </a:lnTo>
                <a:close/>
                <a:moveTo>
                  <a:pt x="5195456" y="4037129"/>
                </a:moveTo>
                <a:lnTo>
                  <a:pt x="5918073" y="4037129"/>
                </a:lnTo>
                <a:lnTo>
                  <a:pt x="6191792" y="4584567"/>
                </a:lnTo>
                <a:lnTo>
                  <a:pt x="5918073" y="5132004"/>
                </a:lnTo>
                <a:lnTo>
                  <a:pt x="5195456" y="5132004"/>
                </a:lnTo>
                <a:lnTo>
                  <a:pt x="4921737" y="4584567"/>
                </a:lnTo>
                <a:close/>
                <a:moveTo>
                  <a:pt x="3119750" y="4037129"/>
                </a:moveTo>
                <a:lnTo>
                  <a:pt x="3842365" y="4037129"/>
                </a:lnTo>
                <a:lnTo>
                  <a:pt x="4116084" y="4584567"/>
                </a:lnTo>
                <a:lnTo>
                  <a:pt x="3842365" y="5132004"/>
                </a:lnTo>
                <a:lnTo>
                  <a:pt x="3119750" y="5132004"/>
                </a:lnTo>
                <a:lnTo>
                  <a:pt x="2846030" y="4584567"/>
                </a:lnTo>
                <a:close/>
                <a:moveTo>
                  <a:pt x="1044040" y="4037129"/>
                </a:moveTo>
                <a:lnTo>
                  <a:pt x="1766657" y="4037129"/>
                </a:lnTo>
                <a:lnTo>
                  <a:pt x="2040376" y="4584567"/>
                </a:lnTo>
                <a:lnTo>
                  <a:pt x="1766657" y="5132004"/>
                </a:lnTo>
                <a:lnTo>
                  <a:pt x="1044040" y="5132004"/>
                </a:lnTo>
                <a:lnTo>
                  <a:pt x="770321" y="4584567"/>
                </a:lnTo>
                <a:close/>
                <a:moveTo>
                  <a:pt x="4159387" y="3463221"/>
                </a:moveTo>
                <a:lnTo>
                  <a:pt x="4877790" y="3463221"/>
                </a:lnTo>
                <a:lnTo>
                  <a:pt x="5149912" y="4007466"/>
                </a:lnTo>
                <a:lnTo>
                  <a:pt x="4877790" y="4551710"/>
                </a:lnTo>
                <a:lnTo>
                  <a:pt x="4159387" y="4551710"/>
                </a:lnTo>
                <a:lnTo>
                  <a:pt x="3887265" y="4007466"/>
                </a:lnTo>
                <a:close/>
                <a:moveTo>
                  <a:pt x="2078891" y="3458978"/>
                </a:moveTo>
                <a:lnTo>
                  <a:pt x="2801507" y="3458978"/>
                </a:lnTo>
                <a:lnTo>
                  <a:pt x="3075227" y="4006416"/>
                </a:lnTo>
                <a:lnTo>
                  <a:pt x="2801507" y="4553853"/>
                </a:lnTo>
                <a:lnTo>
                  <a:pt x="2078891" y="4553853"/>
                </a:lnTo>
                <a:lnTo>
                  <a:pt x="1805171" y="4006416"/>
                </a:lnTo>
                <a:close/>
                <a:moveTo>
                  <a:pt x="3182" y="3458978"/>
                </a:moveTo>
                <a:lnTo>
                  <a:pt x="725798" y="3458978"/>
                </a:lnTo>
                <a:lnTo>
                  <a:pt x="999517" y="4006416"/>
                </a:lnTo>
                <a:lnTo>
                  <a:pt x="725798" y="4553853"/>
                </a:lnTo>
                <a:lnTo>
                  <a:pt x="3182" y="4553853"/>
                </a:lnTo>
                <a:lnTo>
                  <a:pt x="0" y="4547489"/>
                </a:lnTo>
                <a:lnTo>
                  <a:pt x="0" y="3465342"/>
                </a:lnTo>
                <a:close/>
                <a:moveTo>
                  <a:pt x="1044040" y="2883459"/>
                </a:moveTo>
                <a:lnTo>
                  <a:pt x="1766657" y="2883459"/>
                </a:lnTo>
                <a:lnTo>
                  <a:pt x="2040376" y="3430894"/>
                </a:lnTo>
                <a:lnTo>
                  <a:pt x="1766657" y="3978331"/>
                </a:lnTo>
                <a:lnTo>
                  <a:pt x="1044040" y="3978331"/>
                </a:lnTo>
                <a:lnTo>
                  <a:pt x="770321" y="3430894"/>
                </a:lnTo>
                <a:close/>
                <a:moveTo>
                  <a:pt x="3119750" y="2883459"/>
                </a:moveTo>
                <a:lnTo>
                  <a:pt x="3842365" y="2883459"/>
                </a:lnTo>
                <a:lnTo>
                  <a:pt x="4116084" y="3430894"/>
                </a:lnTo>
                <a:lnTo>
                  <a:pt x="3842365" y="3978331"/>
                </a:lnTo>
                <a:lnTo>
                  <a:pt x="3119750" y="3978331"/>
                </a:lnTo>
                <a:lnTo>
                  <a:pt x="2846030" y="3430894"/>
                </a:lnTo>
                <a:close/>
                <a:moveTo>
                  <a:pt x="3182" y="2305308"/>
                </a:moveTo>
                <a:lnTo>
                  <a:pt x="725799" y="2305308"/>
                </a:lnTo>
                <a:lnTo>
                  <a:pt x="999517" y="2852746"/>
                </a:lnTo>
                <a:lnTo>
                  <a:pt x="725799" y="3400180"/>
                </a:lnTo>
                <a:lnTo>
                  <a:pt x="3182" y="3400180"/>
                </a:lnTo>
                <a:lnTo>
                  <a:pt x="0" y="3393816"/>
                </a:lnTo>
                <a:lnTo>
                  <a:pt x="0" y="2311672"/>
                </a:lnTo>
                <a:close/>
                <a:moveTo>
                  <a:pt x="2078891" y="2305306"/>
                </a:moveTo>
                <a:lnTo>
                  <a:pt x="2801507" y="2305306"/>
                </a:lnTo>
                <a:lnTo>
                  <a:pt x="3075227" y="2852744"/>
                </a:lnTo>
                <a:lnTo>
                  <a:pt x="2801507" y="3400179"/>
                </a:lnTo>
                <a:lnTo>
                  <a:pt x="2078891" y="3400179"/>
                </a:lnTo>
                <a:lnTo>
                  <a:pt x="1805171" y="2852744"/>
                </a:lnTo>
                <a:close/>
                <a:moveTo>
                  <a:pt x="4154597" y="2305305"/>
                </a:moveTo>
                <a:lnTo>
                  <a:pt x="4877214" y="2305305"/>
                </a:lnTo>
                <a:lnTo>
                  <a:pt x="5150933" y="2852744"/>
                </a:lnTo>
                <a:lnTo>
                  <a:pt x="4877214" y="3400179"/>
                </a:lnTo>
                <a:lnTo>
                  <a:pt x="4154597" y="3400179"/>
                </a:lnTo>
                <a:lnTo>
                  <a:pt x="3880879" y="2852744"/>
                </a:lnTo>
                <a:close/>
                <a:moveTo>
                  <a:pt x="5202046" y="1738266"/>
                </a:moveTo>
                <a:lnTo>
                  <a:pt x="5920449" y="1738266"/>
                </a:lnTo>
                <a:lnTo>
                  <a:pt x="6192571" y="2282511"/>
                </a:lnTo>
                <a:lnTo>
                  <a:pt x="5920449" y="2826755"/>
                </a:lnTo>
                <a:lnTo>
                  <a:pt x="5202046" y="2826755"/>
                </a:lnTo>
                <a:lnTo>
                  <a:pt x="4929924" y="2282511"/>
                </a:lnTo>
                <a:close/>
                <a:moveTo>
                  <a:pt x="1044040" y="1729785"/>
                </a:moveTo>
                <a:lnTo>
                  <a:pt x="1766657" y="1729785"/>
                </a:lnTo>
                <a:lnTo>
                  <a:pt x="2040376" y="2277224"/>
                </a:lnTo>
                <a:lnTo>
                  <a:pt x="1766657" y="2824659"/>
                </a:lnTo>
                <a:lnTo>
                  <a:pt x="1044040" y="2824659"/>
                </a:lnTo>
                <a:lnTo>
                  <a:pt x="770321" y="2277224"/>
                </a:lnTo>
                <a:close/>
                <a:moveTo>
                  <a:pt x="3119750" y="1729784"/>
                </a:moveTo>
                <a:lnTo>
                  <a:pt x="3842365" y="1729784"/>
                </a:lnTo>
                <a:lnTo>
                  <a:pt x="4116084" y="2277222"/>
                </a:lnTo>
                <a:lnTo>
                  <a:pt x="3842365" y="2824659"/>
                </a:lnTo>
                <a:lnTo>
                  <a:pt x="3119750" y="2824659"/>
                </a:lnTo>
                <a:lnTo>
                  <a:pt x="2846030" y="2277222"/>
                </a:lnTo>
                <a:close/>
                <a:moveTo>
                  <a:pt x="3182" y="1151633"/>
                </a:moveTo>
                <a:lnTo>
                  <a:pt x="725799" y="1151633"/>
                </a:lnTo>
                <a:lnTo>
                  <a:pt x="999517" y="1699071"/>
                </a:lnTo>
                <a:lnTo>
                  <a:pt x="725799" y="2246508"/>
                </a:lnTo>
                <a:lnTo>
                  <a:pt x="3182" y="2246508"/>
                </a:lnTo>
                <a:lnTo>
                  <a:pt x="0" y="2240144"/>
                </a:lnTo>
                <a:lnTo>
                  <a:pt x="0" y="1157997"/>
                </a:lnTo>
                <a:close/>
                <a:moveTo>
                  <a:pt x="2078891" y="1151632"/>
                </a:moveTo>
                <a:lnTo>
                  <a:pt x="2801507" y="1151632"/>
                </a:lnTo>
                <a:lnTo>
                  <a:pt x="3075227" y="1699069"/>
                </a:lnTo>
                <a:lnTo>
                  <a:pt x="2801507" y="2246507"/>
                </a:lnTo>
                <a:lnTo>
                  <a:pt x="2078891" y="2246507"/>
                </a:lnTo>
                <a:lnTo>
                  <a:pt x="1805172" y="1699069"/>
                </a:lnTo>
                <a:close/>
                <a:moveTo>
                  <a:pt x="4154597" y="1151631"/>
                </a:moveTo>
                <a:lnTo>
                  <a:pt x="4877214" y="1151631"/>
                </a:lnTo>
                <a:lnTo>
                  <a:pt x="5150933" y="1699069"/>
                </a:lnTo>
                <a:lnTo>
                  <a:pt x="4877214" y="2246506"/>
                </a:lnTo>
                <a:lnTo>
                  <a:pt x="4154597" y="2246506"/>
                </a:lnTo>
                <a:lnTo>
                  <a:pt x="3880879" y="1699069"/>
                </a:lnTo>
                <a:close/>
                <a:moveTo>
                  <a:pt x="1044040" y="576110"/>
                </a:moveTo>
                <a:lnTo>
                  <a:pt x="1766657" y="576110"/>
                </a:lnTo>
                <a:lnTo>
                  <a:pt x="2040377" y="1123549"/>
                </a:lnTo>
                <a:lnTo>
                  <a:pt x="1766657" y="1670985"/>
                </a:lnTo>
                <a:lnTo>
                  <a:pt x="1044040" y="1670985"/>
                </a:lnTo>
                <a:lnTo>
                  <a:pt x="770321" y="1123549"/>
                </a:lnTo>
                <a:close/>
                <a:moveTo>
                  <a:pt x="3119750" y="576109"/>
                </a:moveTo>
                <a:lnTo>
                  <a:pt x="3842365" y="576109"/>
                </a:lnTo>
                <a:lnTo>
                  <a:pt x="4116084" y="1123547"/>
                </a:lnTo>
                <a:lnTo>
                  <a:pt x="3842365" y="1670984"/>
                </a:lnTo>
                <a:lnTo>
                  <a:pt x="3119750" y="1670984"/>
                </a:lnTo>
                <a:lnTo>
                  <a:pt x="2846030" y="1123547"/>
                </a:lnTo>
                <a:close/>
                <a:moveTo>
                  <a:pt x="5195456" y="576108"/>
                </a:moveTo>
                <a:lnTo>
                  <a:pt x="5918073" y="576108"/>
                </a:lnTo>
                <a:lnTo>
                  <a:pt x="6191792" y="1123546"/>
                </a:lnTo>
                <a:lnTo>
                  <a:pt x="5918073" y="1670983"/>
                </a:lnTo>
                <a:lnTo>
                  <a:pt x="5195456" y="1670983"/>
                </a:lnTo>
                <a:lnTo>
                  <a:pt x="4921737" y="1123546"/>
                </a:lnTo>
                <a:close/>
                <a:moveTo>
                  <a:pt x="7025576" y="0"/>
                </a:moveTo>
                <a:lnTo>
                  <a:pt x="8265502" y="0"/>
                </a:lnTo>
                <a:lnTo>
                  <a:pt x="8006847" y="517308"/>
                </a:lnTo>
                <a:lnTo>
                  <a:pt x="7284230" y="517308"/>
                </a:lnTo>
                <a:close/>
                <a:moveTo>
                  <a:pt x="6242345" y="0"/>
                </a:moveTo>
                <a:lnTo>
                  <a:pt x="6967007" y="0"/>
                </a:lnTo>
                <a:lnTo>
                  <a:pt x="7239703" y="545393"/>
                </a:lnTo>
                <a:lnTo>
                  <a:pt x="6965984" y="1092830"/>
                </a:lnTo>
                <a:lnTo>
                  <a:pt x="6243367" y="1092830"/>
                </a:lnTo>
                <a:lnTo>
                  <a:pt x="5969648" y="545393"/>
                </a:lnTo>
                <a:close/>
                <a:moveTo>
                  <a:pt x="4936801" y="0"/>
                </a:moveTo>
                <a:lnTo>
                  <a:pt x="6176728" y="0"/>
                </a:lnTo>
                <a:lnTo>
                  <a:pt x="5918073" y="517309"/>
                </a:lnTo>
                <a:lnTo>
                  <a:pt x="5195456" y="517309"/>
                </a:lnTo>
                <a:close/>
                <a:moveTo>
                  <a:pt x="4153576" y="0"/>
                </a:moveTo>
                <a:lnTo>
                  <a:pt x="4878236" y="0"/>
                </a:lnTo>
                <a:lnTo>
                  <a:pt x="5150933" y="545395"/>
                </a:lnTo>
                <a:lnTo>
                  <a:pt x="4877214" y="1092832"/>
                </a:lnTo>
                <a:lnTo>
                  <a:pt x="4154597" y="1092832"/>
                </a:lnTo>
                <a:lnTo>
                  <a:pt x="3880879" y="545395"/>
                </a:lnTo>
                <a:close/>
                <a:moveTo>
                  <a:pt x="2861095" y="0"/>
                </a:moveTo>
                <a:lnTo>
                  <a:pt x="4101020" y="0"/>
                </a:lnTo>
                <a:lnTo>
                  <a:pt x="3842365" y="517310"/>
                </a:lnTo>
                <a:lnTo>
                  <a:pt x="3119750" y="517310"/>
                </a:lnTo>
                <a:close/>
                <a:moveTo>
                  <a:pt x="2077870" y="0"/>
                </a:moveTo>
                <a:lnTo>
                  <a:pt x="2802528" y="0"/>
                </a:lnTo>
                <a:lnTo>
                  <a:pt x="3075227" y="545396"/>
                </a:lnTo>
                <a:lnTo>
                  <a:pt x="2801507" y="1092833"/>
                </a:lnTo>
                <a:lnTo>
                  <a:pt x="2078891" y="1092833"/>
                </a:lnTo>
                <a:lnTo>
                  <a:pt x="1805172" y="545396"/>
                </a:lnTo>
                <a:close/>
                <a:moveTo>
                  <a:pt x="785384" y="0"/>
                </a:moveTo>
                <a:lnTo>
                  <a:pt x="2025315" y="0"/>
                </a:lnTo>
                <a:lnTo>
                  <a:pt x="1766657" y="517311"/>
                </a:lnTo>
                <a:lnTo>
                  <a:pt x="1044040" y="517311"/>
                </a:lnTo>
                <a:close/>
                <a:moveTo>
                  <a:pt x="2162" y="0"/>
                </a:moveTo>
                <a:lnTo>
                  <a:pt x="726820" y="0"/>
                </a:lnTo>
                <a:lnTo>
                  <a:pt x="999517" y="545397"/>
                </a:lnTo>
                <a:lnTo>
                  <a:pt x="725799" y="1092834"/>
                </a:lnTo>
                <a:lnTo>
                  <a:pt x="3182" y="1092834"/>
                </a:lnTo>
                <a:lnTo>
                  <a:pt x="0" y="1086470"/>
                </a:lnTo>
                <a:lnTo>
                  <a:pt x="0" y="4323"/>
                </a:lnTo>
                <a:close/>
              </a:path>
            </a:pathLst>
          </a:custGeom>
          <a:solidFill>
            <a:schemeClr val="bg1">
              <a:lumMod val="95000"/>
            </a:schemeClr>
          </a:solidFill>
        </p:spPr>
        <p:txBody>
          <a:bodyPr wrap="square" anchor="ctr">
            <a:noAutofit/>
          </a:bodyPr>
          <a:lstStyle>
            <a:lvl1pPr marL="0" indent="0" algn="ctr">
              <a:buNone/>
              <a:defRPr sz="1200">
                <a:latin typeface="Arial" pitchFamily="34" charset="0"/>
                <a:cs typeface="Arial" pitchFamily="34" charset="0"/>
              </a:defRPr>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ltLang="ko-KR" dirty="0"/>
              <a:t>Your Picture Here</a:t>
            </a:r>
            <a:endParaRPr lang="ko-KR" altLang="en-US" dirty="0"/>
          </a:p>
        </p:txBody>
      </p:sp>
    </p:spTree>
    <p:extLst>
      <p:ext uri="{BB962C8B-B14F-4D97-AF65-F5344CB8AC3E}">
        <p14:creationId xmlns:p14="http://schemas.microsoft.com/office/powerpoint/2010/main" val="3721603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CC47C69-22BC-405B-8E87-FECE110BE624}"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2052349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CC47C69-22BC-405B-8E87-FECE110BE624}" type="datetimeFigureOut">
              <a:rPr lang="en-US" smtClean="0"/>
              <a:pPr/>
              <a:t>9/2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283851-0F9C-4180-9EE0-F7819C2791F2}" type="slidenum">
              <a:rPr lang="en-US" smtClean="0"/>
              <a:pPr/>
              <a:t>‹#›</a:t>
            </a:fld>
            <a:endParaRPr lang="en-US"/>
          </a:p>
        </p:txBody>
      </p:sp>
    </p:spTree>
    <p:extLst>
      <p:ext uri="{BB962C8B-B14F-4D97-AF65-F5344CB8AC3E}">
        <p14:creationId xmlns:p14="http://schemas.microsoft.com/office/powerpoint/2010/main" val="234655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0.xml"/><Relationship Id="rId21" Type="http://schemas.openxmlformats.org/officeDocument/2006/relationships/tags" Target="../tags/tag10.xml"/><Relationship Id="rId7" Type="http://schemas.openxmlformats.org/officeDocument/2006/relationships/slideLayout" Target="../slideLayouts/slideLayout34.xml"/><Relationship Id="rId12" Type="http://schemas.openxmlformats.org/officeDocument/2006/relationships/vmlDrawing" Target="../drawings/vmlDrawing1.v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29.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24" Type="http://schemas.openxmlformats.org/officeDocument/2006/relationships/tags" Target="../tags/tag13.xml"/><Relationship Id="rId32" Type="http://schemas.openxmlformats.org/officeDocument/2006/relationships/image" Target="../media/image1.emf"/><Relationship Id="rId5" Type="http://schemas.openxmlformats.org/officeDocument/2006/relationships/slideLayout" Target="../slideLayouts/slideLayout32.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slideLayout" Target="../slideLayouts/slideLayout37.xml"/><Relationship Id="rId19" Type="http://schemas.openxmlformats.org/officeDocument/2006/relationships/tags" Target="../tags/tag8.xml"/><Relationship Id="rId31" Type="http://schemas.openxmlformats.org/officeDocument/2006/relationships/oleObject" Target="../embeddings/oleObject1.bin"/><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theme" Target="../theme/theme5.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93000">
              <a:schemeClr val="bg1">
                <a:lumMod val="95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C47C69-22BC-405B-8E87-FECE110BE624}" type="datetimeFigureOut">
              <a:rPr lang="en-US" smtClean="0"/>
              <a:pPr/>
              <a:t>9/20/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283851-0F9C-4180-9EE0-F7819C2791F2}" type="slidenum">
              <a:rPr lang="en-US" smtClean="0"/>
              <a:pPr/>
              <a:t>‹#›</a:t>
            </a:fld>
            <a:endParaRPr lang="en-US"/>
          </a:p>
        </p:txBody>
      </p:sp>
    </p:spTree>
    <p:extLst>
      <p:ext uri="{BB962C8B-B14F-4D97-AF65-F5344CB8AC3E}">
        <p14:creationId xmlns:p14="http://schemas.microsoft.com/office/powerpoint/2010/main" val="31295607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7" r:id="rId12"/>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93000">
              <a:schemeClr val="bg1">
                <a:lumMod val="95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0"/>
            <a:ext cx="10972801" cy="71108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425404F2-BE9A-4460-8815-8F645183555F}" type="datetimeFigureOut">
              <a:rPr lang="en-US" smtClean="0"/>
              <a:pPr/>
              <a:t>9/20/2022</a:t>
            </a:fld>
            <a:endParaRPr lang="en-US"/>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216402455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Lst>
  <p:txStyles>
    <p:titleStyle>
      <a:lvl1pPr algn="l" defTabSz="1218987" rtl="0" eaLnBrk="1" latinLnBrk="0" hangingPunct="1">
        <a:spcBef>
          <a:spcPct val="0"/>
        </a:spcBef>
        <a:buNone/>
        <a:defRPr sz="3600" kern="1200">
          <a:solidFill>
            <a:schemeClr val="tx1"/>
          </a:solidFill>
          <a:latin typeface="+mj-lt"/>
          <a:ea typeface="+mj-ea"/>
          <a:cs typeface="+mj-cs"/>
        </a:defRPr>
      </a:lvl1pPr>
    </p:titleStyle>
    <p:body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93000">
              <a:schemeClr val="bg1">
                <a:lumMod val="95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ext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1221"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1" y="0"/>
                        <a:ext cx="215979" cy="161974"/>
                      </a:xfrm>
                      <a:prstGeom prst="rect">
                        <a:avLst/>
                      </a:prstGeom>
                    </p:spPr>
                  </p:pic>
                </p:oleObj>
              </mc:Fallback>
            </mc:AlternateContent>
          </a:graphicData>
        </a:graphic>
      </p:graphicFrame>
      <p:sp>
        <p:nvSpPr>
          <p:cNvPr id="6" name="Rectangle 5" hidden="1"/>
          <p:cNvSpPr/>
          <p:nvPr>
            <p:custDataLst>
              <p:tags r:id="rId14"/>
            </p:custDataLst>
          </p:nvPr>
        </p:nvSpPr>
        <p:spPr bwMode="auto">
          <a:xfrm>
            <a:off x="1"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83" dirty="0">
              <a:solidFill>
                <a:srgbClr val="000000"/>
              </a:solidFill>
              <a:sym typeface="Arial" panose="020B0604020202020204" pitchFamily="34" charset="0"/>
            </a:endParaRPr>
          </a:p>
        </p:txBody>
      </p:sp>
      <p:sp>
        <p:nvSpPr>
          <p:cNvPr id="107" name="Slide Number"/>
          <p:cNvSpPr txBox="1">
            <a:spLocks/>
          </p:cNvSpPr>
          <p:nvPr userDrawn="1"/>
        </p:nvSpPr>
        <p:spPr bwMode="auto">
          <a:xfrm>
            <a:off x="11811320" y="6627914"/>
            <a:ext cx="15068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0" baseline="0" smtClean="0">
                <a:solidFill>
                  <a:schemeClr val="tx1"/>
                </a:solidFill>
                <a:latin typeface="+mn-lt"/>
              </a:rPr>
              <a:pPr algn="r"/>
              <a:t>‹#›</a:t>
            </a:fld>
            <a:endParaRPr lang="en-US" sz="1000" b="0" baseline="0" dirty="0">
              <a:solidFill>
                <a:schemeClr val="tx1"/>
              </a:solidFill>
              <a:latin typeface="+mn-lt"/>
            </a:endParaRPr>
          </a:p>
        </p:txBody>
      </p:sp>
      <p:sp>
        <p:nvSpPr>
          <p:cNvPr id="19" name="Title Placeholder 2"/>
          <p:cNvSpPr>
            <a:spLocks noGrp="1" noChangeArrowheads="1"/>
          </p:cNvSpPr>
          <p:nvPr>
            <p:ph type="title"/>
          </p:nvPr>
        </p:nvSpPr>
        <p:spPr bwMode="auto">
          <a:xfrm>
            <a:off x="723900" y="230315"/>
            <a:ext cx="10820400" cy="584775"/>
          </a:xfrm>
          <a:prstGeom prst="rect">
            <a:avLst/>
          </a:prstGeom>
        </p:spPr>
        <p:txBody>
          <a:bodyPr>
            <a:spAutoFit/>
          </a:bodyPr>
          <a:lstStyle/>
          <a:p>
            <a:pPr lvl="0"/>
            <a:r>
              <a:rPr lang="en-US" dirty="0"/>
              <a:t>Click to edit Master title style</a:t>
            </a:r>
            <a:endParaRPr lang="en-US" noProof="0" dirty="0"/>
          </a:p>
        </p:txBody>
      </p:sp>
      <p:sp>
        <p:nvSpPr>
          <p:cNvPr id="3" name="Text Placeholder 2"/>
          <p:cNvSpPr>
            <a:spLocks noGrp="1"/>
          </p:cNvSpPr>
          <p:nvPr>
            <p:ph type="body" idx="1"/>
          </p:nvPr>
        </p:nvSpPr>
        <p:spPr bwMode="auto">
          <a:xfrm>
            <a:off x="1976208" y="2935527"/>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233256" y="9525"/>
            <a:ext cx="66372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233256" y="607133"/>
            <a:ext cx="10287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userDrawn="1"/>
        </p:nvGrpSpPr>
        <p:grpSpPr bwMode="auto">
          <a:xfrm>
            <a:off x="233256" y="6422205"/>
            <a:ext cx="11539643" cy="359597"/>
            <a:chOff x="119063" y="6278944"/>
            <a:chExt cx="8618537" cy="352439"/>
          </a:xfrm>
        </p:grpSpPr>
        <p:sp>
          <p:nvSpPr>
            <p:cNvPr id="13" name="4. Footnote"/>
            <p:cNvSpPr txBox="1">
              <a:spLocks noChangeArrowheads="1"/>
            </p:cNvSpPr>
            <p:nvPr/>
          </p:nvSpPr>
          <p:spPr bwMode="auto">
            <a:xfrm>
              <a:off x="119063" y="6278944"/>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19064" y="6480558"/>
              <a:ext cx="825138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5775" indent="-485775" defTabSz="913800">
                <a:tabLst>
                  <a:tab pos="609600" algn="l"/>
                </a:tabLst>
              </a:pPr>
              <a:r>
                <a:rPr lang="en-US" sz="1000" baseline="0" dirty="0">
                  <a:solidFill>
                    <a:schemeClr val="tx1"/>
                  </a:solidFill>
                  <a:latin typeface="+mn-lt"/>
                  <a:ea typeface="+mn-ea"/>
                </a:rPr>
                <a:t>SOURCE: Source</a:t>
              </a:r>
            </a:p>
          </p:txBody>
        </p:sp>
      </p:grpSp>
      <p:grpSp>
        <p:nvGrpSpPr>
          <p:cNvPr id="15" name="ACET" hidden="1"/>
          <p:cNvGrpSpPr>
            <a:grpSpLocks/>
          </p:cNvGrpSpPr>
          <p:nvPr/>
        </p:nvGrpSpPr>
        <p:grpSpPr bwMode="auto">
          <a:xfrm>
            <a:off x="1976206" y="2350212"/>
            <a:ext cx="5853024"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userDrawn="1"/>
        </p:nvGrpSpPr>
        <p:grpSpPr bwMode="auto">
          <a:xfrm>
            <a:off x="9819959" y="304620"/>
            <a:ext cx="703263" cy="996951"/>
            <a:chOff x="4936" y="176"/>
            <a:chExt cx="443" cy="628"/>
          </a:xfrm>
        </p:grpSpPr>
        <p:sp>
          <p:nvSpPr>
            <p:cNvPr id="64" name="Legend1"/>
            <p:cNvSpPr>
              <a:spLocks noChangeArrowheads="1"/>
            </p:cNvSpPr>
            <p:nvPr/>
          </p:nvSpPr>
          <p:spPr bwMode="auto">
            <a:xfrm>
              <a:off x="5096" y="17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66" name="Legend2"/>
            <p:cNvSpPr>
              <a:spLocks noChangeArrowheads="1"/>
            </p:cNvSpPr>
            <p:nvPr/>
          </p:nvSpPr>
          <p:spPr bwMode="auto">
            <a:xfrm>
              <a:off x="5096" y="34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68" name="Legend3"/>
            <p:cNvSpPr>
              <a:spLocks noChangeArrowheads="1"/>
            </p:cNvSpPr>
            <p:nvPr/>
          </p:nvSpPr>
          <p:spPr bwMode="auto">
            <a:xfrm>
              <a:off x="5096" y="517"/>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70" name="Legend4"/>
            <p:cNvSpPr>
              <a:spLocks noChangeArrowheads="1"/>
            </p:cNvSpPr>
            <p:nvPr/>
          </p:nvSpPr>
          <p:spPr bwMode="auto">
            <a:xfrm>
              <a:off x="5096" y="688"/>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grpSp>
      <p:grpSp>
        <p:nvGrpSpPr>
          <p:cNvPr id="72" name="LegendLines" hidden="1"/>
          <p:cNvGrpSpPr>
            <a:grpSpLocks/>
          </p:cNvGrpSpPr>
          <p:nvPr userDrawn="1"/>
        </p:nvGrpSpPr>
        <p:grpSpPr bwMode="auto">
          <a:xfrm>
            <a:off x="9511984" y="304620"/>
            <a:ext cx="1011238" cy="730251"/>
            <a:chOff x="4750" y="176"/>
            <a:chExt cx="63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44">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44">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44">
                <a:latin typeface="+mn-lt"/>
              </a:endParaRPr>
            </a:p>
          </p:txBody>
        </p:sp>
        <p:sp>
          <p:nvSpPr>
            <p:cNvPr id="76"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77"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78"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grpSp>
      <p:grpSp>
        <p:nvGrpSpPr>
          <p:cNvPr id="79" name="LegendMoons" hidden="1"/>
          <p:cNvGrpSpPr/>
          <p:nvPr userDrawn="1"/>
        </p:nvGrpSpPr>
        <p:grpSpPr bwMode="auto">
          <a:xfrm>
            <a:off x="9753502" y="304619"/>
            <a:ext cx="769720" cy="1306516"/>
            <a:chOff x="7875175" y="286625"/>
            <a:chExt cx="769720" cy="1306516"/>
          </a:xfrm>
        </p:grpSpPr>
        <p:grpSp>
          <p:nvGrpSpPr>
            <p:cNvPr id="80" name="MoonLegend2"/>
            <p:cNvGrpSpPr>
              <a:grpSpLocks noChangeAspect="1"/>
            </p:cNvGrpSpPr>
            <p:nvPr>
              <p:custDataLst>
                <p:tags r:id="rId16"/>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99" name="Arc 42"/>
              <p:cNvSpPr>
                <a:spLocks noChangeAspect="1"/>
              </p:cNvSpPr>
              <p:nvPr>
                <p:custDataLst>
                  <p:tags r:id="rId30"/>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grpSp>
        <p:grpSp>
          <p:nvGrpSpPr>
            <p:cNvPr id="81" name="MoonLegend4"/>
            <p:cNvGrpSpPr>
              <a:grpSpLocks noChangeAspect="1"/>
            </p:cNvGrpSpPr>
            <p:nvPr>
              <p:custDataLst>
                <p:tags r:id="rId17"/>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9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grpSp>
        <p:grpSp>
          <p:nvGrpSpPr>
            <p:cNvPr id="82" name="MoonLegend5"/>
            <p:cNvGrpSpPr>
              <a:grpSpLocks noChangeAspect="1"/>
            </p:cNvGrpSpPr>
            <p:nvPr>
              <p:custDataLst>
                <p:tags r:id="rId18"/>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9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grpSp>
        <p:sp>
          <p:nvSpPr>
            <p:cNvPr id="83" name="Legend1"/>
            <p:cNvSpPr>
              <a:spLocks noChangeArrowheads="1"/>
            </p:cNvSpPr>
            <p:nvPr/>
          </p:nvSpPr>
          <p:spPr bwMode="auto">
            <a:xfrm>
              <a:off x="8195850" y="299325"/>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4" name="Legend2"/>
            <p:cNvSpPr>
              <a:spLocks noChangeArrowheads="1"/>
            </p:cNvSpPr>
            <p:nvPr/>
          </p:nvSpPr>
          <p:spPr bwMode="auto">
            <a:xfrm>
              <a:off x="8195850" y="573963"/>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5" name="Legend3"/>
            <p:cNvSpPr>
              <a:spLocks noChangeArrowheads="1"/>
            </p:cNvSpPr>
            <p:nvPr/>
          </p:nvSpPr>
          <p:spPr bwMode="auto">
            <a:xfrm>
              <a:off x="8195850" y="848602"/>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6" name="Legend4"/>
            <p:cNvSpPr>
              <a:spLocks noChangeArrowheads="1"/>
            </p:cNvSpPr>
            <p:nvPr/>
          </p:nvSpPr>
          <p:spPr bwMode="auto">
            <a:xfrm>
              <a:off x="8195850" y="1120065"/>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a:latin typeface="+mn-lt"/>
                </a:rPr>
                <a:t>Legend</a:t>
              </a:r>
            </a:p>
          </p:txBody>
        </p:sp>
        <p:sp>
          <p:nvSpPr>
            <p:cNvPr id="87" name="Legend5"/>
            <p:cNvSpPr>
              <a:spLocks noChangeArrowheads="1"/>
            </p:cNvSpPr>
            <p:nvPr/>
          </p:nvSpPr>
          <p:spPr bwMode="auto">
            <a:xfrm>
              <a:off x="8195850" y="1396290"/>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grpSp>
          <p:nvGrpSpPr>
            <p:cNvPr id="88" name="MoonLegend3"/>
            <p:cNvGrpSpPr>
              <a:grpSpLocks noChangeAspect="1"/>
            </p:cNvGrpSpPr>
            <p:nvPr>
              <p:custDataLst>
                <p:tags r:id="rId19"/>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9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grpSp>
        <p:grpSp>
          <p:nvGrpSpPr>
            <p:cNvPr id="89" name="MoonLegend1"/>
            <p:cNvGrpSpPr>
              <a:grpSpLocks noChangeAspect="1"/>
            </p:cNvGrpSpPr>
            <p:nvPr userDrawn="1">
              <p:custDataLst>
                <p:tags r:id="rId20"/>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a:latin typeface="+mn-lt"/>
                </a:endParaRPr>
              </a:p>
            </p:txBody>
          </p:sp>
        </p:grpSp>
      </p:grpSp>
      <p:grpSp>
        <p:nvGrpSpPr>
          <p:cNvPr id="100" name="McKSticker" hidden="1"/>
          <p:cNvGrpSpPr/>
          <p:nvPr userDrawn="1"/>
        </p:nvGrpSpPr>
        <p:grpSpPr bwMode="auto">
          <a:xfrm>
            <a:off x="9638787" y="304619"/>
            <a:ext cx="884435" cy="212366"/>
            <a:chOff x="7856340" y="285750"/>
            <a:chExt cx="884435" cy="212366"/>
          </a:xfrm>
        </p:grpSpPr>
        <p:sp>
          <p:nvSpPr>
            <p:cNvPr id="101" name="StickerRectangle"/>
            <p:cNvSpPr>
              <a:spLocks noChangeArrowheads="1"/>
            </p:cNvSpPr>
            <p:nvPr/>
          </p:nvSpPr>
          <p:spPr bwMode="auto">
            <a:xfrm>
              <a:off x="7856340" y="285750"/>
              <a:ext cx="88443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619">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85634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856340" y="498116"/>
              <a:ext cx="88443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2" name="Moon" hidden="1"/>
          <p:cNvGrpSpPr/>
          <p:nvPr userDrawn="1">
            <p:custDataLst>
              <p:tags r:id="rId15"/>
            </p:custDataLst>
          </p:nvPr>
        </p:nvGrpSpPr>
        <p:grpSpPr>
          <a:xfrm>
            <a:off x="8515925" y="1214424"/>
            <a:ext cx="254000" cy="254000"/>
            <a:chOff x="762000" y="1270000"/>
            <a:chExt cx="254000" cy="254000"/>
          </a:xfrm>
        </p:grpSpPr>
        <p:sp>
          <p:nvSpPr>
            <p:cNvPr id="106" name="Oval 105"/>
            <p:cNvSpPr/>
            <p:nvPr/>
          </p:nvSpPr>
          <p:spPr>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44" dirty="0" err="1">
                <a:solidFill>
                  <a:schemeClr val="tx1"/>
                </a:solidFill>
              </a:endParaRPr>
            </a:p>
          </p:txBody>
        </p:sp>
        <p:sp>
          <p:nvSpPr>
            <p:cNvPr id="109" name="Arc 108"/>
            <p:cNvSpPr/>
            <p:nvPr/>
          </p:nvSpPr>
          <p:spPr>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944"/>
            </a:p>
          </p:txBody>
        </p:sp>
      </p:grpSp>
    </p:spTree>
    <p:extLst>
      <p:ext uri="{BB962C8B-B14F-4D97-AF65-F5344CB8AC3E}">
        <p14:creationId xmlns:p14="http://schemas.microsoft.com/office/powerpoint/2010/main" val="67801731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Lst>
  <p:hf hdr="0" ftr="0" dt="0"/>
  <p:txStyles>
    <p:titleStyle>
      <a:lvl1pPr algn="l" defTabSz="913800" rtl="0" eaLnBrk="1" fontAlgn="base" hangingPunct="1">
        <a:spcBef>
          <a:spcPct val="0"/>
        </a:spcBef>
        <a:spcAft>
          <a:spcPct val="0"/>
        </a:spcAft>
        <a:tabLst>
          <a:tab pos="275436" algn="l"/>
        </a:tabLst>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913800" rtl="0" eaLnBrk="1" fontAlgn="base" hangingPunct="1">
        <a:spcBef>
          <a:spcPct val="0"/>
        </a:spcBef>
        <a:spcAft>
          <a:spcPct val="0"/>
        </a:spcAft>
        <a:defRPr sz="1940" b="1">
          <a:solidFill>
            <a:schemeClr val="tx2"/>
          </a:solidFill>
          <a:latin typeface="Arial" charset="0"/>
        </a:defRPr>
      </a:lvl2pPr>
      <a:lvl3pPr algn="l" defTabSz="913800" rtl="0" eaLnBrk="1" fontAlgn="base" hangingPunct="1">
        <a:spcBef>
          <a:spcPct val="0"/>
        </a:spcBef>
        <a:spcAft>
          <a:spcPct val="0"/>
        </a:spcAft>
        <a:defRPr sz="1940" b="1">
          <a:solidFill>
            <a:schemeClr val="tx2"/>
          </a:solidFill>
          <a:latin typeface="Arial" charset="0"/>
        </a:defRPr>
      </a:lvl3pPr>
      <a:lvl4pPr algn="l" defTabSz="913800" rtl="0" eaLnBrk="1" fontAlgn="base" hangingPunct="1">
        <a:spcBef>
          <a:spcPct val="0"/>
        </a:spcBef>
        <a:spcAft>
          <a:spcPct val="0"/>
        </a:spcAft>
        <a:defRPr sz="1940" b="1">
          <a:solidFill>
            <a:schemeClr val="tx2"/>
          </a:solidFill>
          <a:latin typeface="Arial" charset="0"/>
        </a:defRPr>
      </a:lvl4pPr>
      <a:lvl5pPr algn="l" defTabSz="913800" rtl="0" eaLnBrk="1" fontAlgn="base" hangingPunct="1">
        <a:spcBef>
          <a:spcPct val="0"/>
        </a:spcBef>
        <a:spcAft>
          <a:spcPct val="0"/>
        </a:spcAft>
        <a:defRPr sz="1940" b="1">
          <a:solidFill>
            <a:schemeClr val="tx2"/>
          </a:solidFill>
          <a:latin typeface="Arial" charset="0"/>
        </a:defRPr>
      </a:lvl5pPr>
      <a:lvl6pPr marL="466621" algn="l" defTabSz="913800" rtl="0" eaLnBrk="1" fontAlgn="base" hangingPunct="1">
        <a:spcBef>
          <a:spcPct val="0"/>
        </a:spcBef>
        <a:spcAft>
          <a:spcPct val="0"/>
        </a:spcAft>
        <a:defRPr sz="1940" b="1">
          <a:solidFill>
            <a:schemeClr val="tx2"/>
          </a:solidFill>
          <a:latin typeface="Arial" charset="0"/>
        </a:defRPr>
      </a:lvl6pPr>
      <a:lvl7pPr marL="933242" algn="l" defTabSz="913800" rtl="0" eaLnBrk="1" fontAlgn="base" hangingPunct="1">
        <a:spcBef>
          <a:spcPct val="0"/>
        </a:spcBef>
        <a:spcAft>
          <a:spcPct val="0"/>
        </a:spcAft>
        <a:defRPr sz="1940" b="1">
          <a:solidFill>
            <a:schemeClr val="tx2"/>
          </a:solidFill>
          <a:latin typeface="Arial" charset="0"/>
        </a:defRPr>
      </a:lvl7pPr>
      <a:lvl8pPr marL="1399863" algn="l" defTabSz="913800" rtl="0" eaLnBrk="1" fontAlgn="base" hangingPunct="1">
        <a:spcBef>
          <a:spcPct val="0"/>
        </a:spcBef>
        <a:spcAft>
          <a:spcPct val="0"/>
        </a:spcAft>
        <a:defRPr sz="1940" b="1">
          <a:solidFill>
            <a:schemeClr val="tx2"/>
          </a:solidFill>
          <a:latin typeface="Arial" charset="0"/>
        </a:defRPr>
      </a:lvl8pPr>
      <a:lvl9pPr marL="1866485" algn="l" defTabSz="913800" rtl="0" eaLnBrk="1" fontAlgn="base" hangingPunct="1">
        <a:spcBef>
          <a:spcPct val="0"/>
        </a:spcBef>
        <a:spcAft>
          <a:spcPct val="0"/>
        </a:spcAft>
        <a:defRPr sz="1940" b="1">
          <a:solidFill>
            <a:schemeClr val="tx2"/>
          </a:solidFill>
          <a:latin typeface="Arial" charset="0"/>
        </a:defRPr>
      </a:lvl9pPr>
    </p:titleStyle>
    <p:bodyStyle>
      <a:lvl1pPr marL="0" indent="0" algn="l" defTabSz="913800"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82" indent="-196046" algn="l" defTabSz="91380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337" indent="-267335" algn="l" defTabSz="9138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832" indent="-158781" algn="l" defTabSz="9138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033" indent="-128054" algn="l" defTabSz="9138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3242" rtl="0" eaLnBrk="1" latinLnBrk="0" hangingPunct="1">
        <a:defRPr sz="1838" kern="1200">
          <a:solidFill>
            <a:schemeClr val="tx1"/>
          </a:solidFill>
          <a:latin typeface="+mn-lt"/>
          <a:ea typeface="+mn-ea"/>
          <a:cs typeface="+mn-cs"/>
        </a:defRPr>
      </a:lvl1pPr>
      <a:lvl2pPr marL="466621" algn="l" defTabSz="933242" rtl="0" eaLnBrk="1" latinLnBrk="0" hangingPunct="1">
        <a:defRPr sz="1838" kern="1200">
          <a:solidFill>
            <a:schemeClr val="tx1"/>
          </a:solidFill>
          <a:latin typeface="+mn-lt"/>
          <a:ea typeface="+mn-ea"/>
          <a:cs typeface="+mn-cs"/>
        </a:defRPr>
      </a:lvl2pPr>
      <a:lvl3pPr marL="933242" algn="l" defTabSz="933242" rtl="0" eaLnBrk="1" latinLnBrk="0" hangingPunct="1">
        <a:defRPr sz="1838" kern="1200">
          <a:solidFill>
            <a:schemeClr val="tx1"/>
          </a:solidFill>
          <a:latin typeface="+mn-lt"/>
          <a:ea typeface="+mn-ea"/>
          <a:cs typeface="+mn-cs"/>
        </a:defRPr>
      </a:lvl3pPr>
      <a:lvl4pPr marL="1399863" algn="l" defTabSz="933242" rtl="0" eaLnBrk="1" latinLnBrk="0" hangingPunct="1">
        <a:defRPr sz="1838" kern="1200">
          <a:solidFill>
            <a:schemeClr val="tx1"/>
          </a:solidFill>
          <a:latin typeface="+mn-lt"/>
          <a:ea typeface="+mn-ea"/>
          <a:cs typeface="+mn-cs"/>
        </a:defRPr>
      </a:lvl4pPr>
      <a:lvl5pPr marL="1866485" algn="l" defTabSz="933242" rtl="0" eaLnBrk="1" latinLnBrk="0" hangingPunct="1">
        <a:defRPr sz="1838" kern="1200">
          <a:solidFill>
            <a:schemeClr val="tx1"/>
          </a:solidFill>
          <a:latin typeface="+mn-lt"/>
          <a:ea typeface="+mn-ea"/>
          <a:cs typeface="+mn-cs"/>
        </a:defRPr>
      </a:lvl5pPr>
      <a:lvl6pPr marL="2333106" algn="l" defTabSz="933242" rtl="0" eaLnBrk="1" latinLnBrk="0" hangingPunct="1">
        <a:defRPr sz="1838" kern="1200">
          <a:solidFill>
            <a:schemeClr val="tx1"/>
          </a:solidFill>
          <a:latin typeface="+mn-lt"/>
          <a:ea typeface="+mn-ea"/>
          <a:cs typeface="+mn-cs"/>
        </a:defRPr>
      </a:lvl6pPr>
      <a:lvl7pPr marL="2799727" algn="l" defTabSz="933242" rtl="0" eaLnBrk="1" latinLnBrk="0" hangingPunct="1">
        <a:defRPr sz="1838" kern="1200">
          <a:solidFill>
            <a:schemeClr val="tx1"/>
          </a:solidFill>
          <a:latin typeface="+mn-lt"/>
          <a:ea typeface="+mn-ea"/>
          <a:cs typeface="+mn-cs"/>
        </a:defRPr>
      </a:lvl7pPr>
      <a:lvl8pPr marL="3266348" algn="l" defTabSz="933242" rtl="0" eaLnBrk="1" latinLnBrk="0" hangingPunct="1">
        <a:defRPr sz="1838" kern="1200">
          <a:solidFill>
            <a:schemeClr val="tx1"/>
          </a:solidFill>
          <a:latin typeface="+mn-lt"/>
          <a:ea typeface="+mn-ea"/>
          <a:cs typeface="+mn-cs"/>
        </a:defRPr>
      </a:lvl8pPr>
      <a:lvl9pPr marL="3732969" algn="l" defTabSz="933242" rtl="0" eaLnBrk="1" latinLnBrk="0" hangingPunct="1">
        <a:defRPr sz="1838"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36">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flip="none" rotWithShape="1">
          <a:gsLst>
            <a:gs pos="93000">
              <a:schemeClr val="bg1">
                <a:lumMod val="95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40"/>
            <a:ext cx="10972801" cy="711081"/>
          </a:xfrm>
          <a:prstGeom prst="rect">
            <a:avLst/>
          </a:prstGeom>
        </p:spPr>
        <p:txBody>
          <a:bodyPr vert="horz" lIns="121899" tIns="60949" rIns="121899" bIns="60949" rtlCol="0" anchor="ctr">
            <a:normAutofit/>
          </a:bodyPr>
          <a:lstStyle/>
          <a:p>
            <a:r>
              <a:rPr lang="en-US"/>
              <a:t>Click to edit Master title style</a:t>
            </a:r>
          </a:p>
        </p:txBody>
      </p:sp>
      <p:sp>
        <p:nvSpPr>
          <p:cNvPr id="3" name="Text Placeholder 2"/>
          <p:cNvSpPr>
            <a:spLocks noGrp="1"/>
          </p:cNvSpPr>
          <p:nvPr>
            <p:ph type="body" idx="1"/>
          </p:nvPr>
        </p:nvSpPr>
        <p:spPr>
          <a:xfrm>
            <a:off x="609600" y="1138426"/>
            <a:ext cx="10972801" cy="4987739"/>
          </a:xfrm>
          <a:prstGeom prst="rect">
            <a:avLst/>
          </a:prstGeom>
        </p:spPr>
        <p:txBody>
          <a:bodyPr vert="horz" lIns="121899" tIns="60949" rIns="121899" bIns="60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121899" tIns="60949" rIns="121899" bIns="60949" rtlCol="0" anchor="ctr"/>
          <a:lstStyle>
            <a:lvl1pPr algn="l">
              <a:defRPr sz="1600">
                <a:solidFill>
                  <a:schemeClr val="tx1">
                    <a:tint val="75000"/>
                  </a:schemeClr>
                </a:solidFill>
              </a:defRPr>
            </a:lvl1pPr>
          </a:lstStyle>
          <a:p>
            <a:fld id="{425404F2-BE9A-4460-8815-8F645183555F}" type="datetimeFigureOut">
              <a:rPr lang="en-US" smtClean="0"/>
              <a:pPr/>
              <a:t>9/20/2022</a:t>
            </a:fld>
            <a:endParaRPr lang="en-US"/>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121899" tIns="60949" rIns="121899" bIns="60949"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121899" tIns="60949" rIns="121899" bIns="60949" rtlCol="0" anchor="ctr"/>
          <a:lstStyle>
            <a:lvl1pPr algn="r">
              <a:defRPr sz="1600">
                <a:solidFill>
                  <a:schemeClr val="tx1">
                    <a:tint val="75000"/>
                  </a:schemeClr>
                </a:solidFill>
              </a:defRPr>
            </a:lvl1pPr>
          </a:lstStyle>
          <a:p>
            <a:fld id="{96E69268-9C8B-4EBF-A9EE-DC5DC2D48DC3}" type="slidenum">
              <a:rPr lang="en-US" smtClean="0"/>
              <a:pPr/>
              <a:t>‹#›</a:t>
            </a:fld>
            <a:endParaRPr lang="en-US"/>
          </a:p>
        </p:txBody>
      </p:sp>
    </p:spTree>
    <p:extLst>
      <p:ext uri="{BB962C8B-B14F-4D97-AF65-F5344CB8AC3E}">
        <p14:creationId xmlns:p14="http://schemas.microsoft.com/office/powerpoint/2010/main" val="1775132976"/>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Lst>
  <p:txStyles>
    <p:titleStyle>
      <a:lvl1pPr algn="l" defTabSz="1218987" rtl="0" eaLnBrk="1" latinLnBrk="0" hangingPunct="1">
        <a:spcBef>
          <a:spcPct val="0"/>
        </a:spcBef>
        <a:buNone/>
        <a:defRPr sz="3600" kern="1200">
          <a:solidFill>
            <a:schemeClr val="tx1"/>
          </a:solidFill>
          <a:latin typeface="+mj-lt"/>
          <a:ea typeface="+mj-ea"/>
          <a:cs typeface="+mj-cs"/>
        </a:defRPr>
      </a:lvl1pPr>
    </p:titleStyle>
    <p:bodyStyle>
      <a:lvl1pPr marL="457120" indent="-457120" algn="l" defTabSz="1218987" rtl="0" eaLnBrk="1" latinLnBrk="0" hangingPunct="1">
        <a:spcBef>
          <a:spcPct val="20000"/>
        </a:spcBef>
        <a:buFont typeface="Arial" pitchFamily="34" charset="0"/>
        <a:buChar char="•"/>
        <a:defRPr sz="3600" kern="1200">
          <a:solidFill>
            <a:schemeClr val="tx1"/>
          </a:solidFill>
          <a:latin typeface="+mj-lt"/>
          <a:ea typeface="+mn-ea"/>
          <a:cs typeface="+mn-cs"/>
        </a:defRPr>
      </a:lvl1pPr>
      <a:lvl2pPr marL="990427" indent="-380933" algn="l" defTabSz="1218987" rtl="0" eaLnBrk="1" latinLnBrk="0" hangingPunct="1">
        <a:spcBef>
          <a:spcPct val="20000"/>
        </a:spcBef>
        <a:buFont typeface="Arial" pitchFamily="34" charset="0"/>
        <a:buChar char="–"/>
        <a:defRPr sz="3200" kern="1200">
          <a:solidFill>
            <a:schemeClr val="tx1"/>
          </a:solidFill>
          <a:latin typeface="+mj-lt"/>
          <a:ea typeface="+mn-ea"/>
          <a:cs typeface="+mn-cs"/>
        </a:defRPr>
      </a:lvl2pPr>
      <a:lvl3pPr marL="1523733" indent="-304747" algn="l" defTabSz="1218987"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2133227"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742720" indent="-304747" algn="l" defTabSz="1218987"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7567752"/>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Lst>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emf"/><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hyperlink" Target="https://www.findmyjournal.com/" TargetMode="External"/><Relationship Id="rId13" Type="http://schemas.openxmlformats.org/officeDocument/2006/relationships/hyperlink" Target="https://eval.journals.iau.ir/" TargetMode="External"/><Relationship Id="rId3" Type="http://schemas.openxmlformats.org/officeDocument/2006/relationships/hyperlink" Target="https://journalsuggester.springer.com/" TargetMode="External"/><Relationship Id="rId7" Type="http://schemas.openxmlformats.org/officeDocument/2006/relationships/hyperlink" Target="https://journalfinder.wiley.com/search?type=match" TargetMode="External"/><Relationship Id="rId12" Type="http://schemas.openxmlformats.org/officeDocument/2006/relationships/hyperlink" Target="https://journals.research.ac.ir/" TargetMode="External"/><Relationship Id="rId2" Type="http://schemas.openxmlformats.org/officeDocument/2006/relationships/hyperlink" Target="https://journalfinder.elsevier.com/" TargetMode="External"/><Relationship Id="rId1" Type="http://schemas.openxmlformats.org/officeDocument/2006/relationships/slideLayout" Target="../slideLayouts/slideLayout2.xml"/><Relationship Id="rId6" Type="http://schemas.openxmlformats.org/officeDocument/2006/relationships/hyperlink" Target="https://www.edanz.com/journal-selector" TargetMode="External"/><Relationship Id="rId11" Type="http://schemas.openxmlformats.org/officeDocument/2006/relationships/hyperlink" Target="https://journals.msrt.ir/" TargetMode="External"/><Relationship Id="rId5" Type="http://schemas.openxmlformats.org/officeDocument/2006/relationships/hyperlink" Target="https://www.journalguide.com/" TargetMode="External"/><Relationship Id="rId15" Type="http://schemas.openxmlformats.org/officeDocument/2006/relationships/hyperlink" Target="http://ensani.ir/fa/article/journal" TargetMode="External"/><Relationship Id="rId10" Type="http://schemas.openxmlformats.org/officeDocument/2006/relationships/hyperlink" Target="https://journalfinder.ricest.ac.ir/" TargetMode="External"/><Relationship Id="rId4" Type="http://schemas.openxmlformats.org/officeDocument/2006/relationships/hyperlink" Target="https://jane.biosemantics.org/" TargetMode="External"/><Relationship Id="rId9" Type="http://schemas.openxmlformats.org/officeDocument/2006/relationships/hyperlink" Target="http://journalseek.net/" TargetMode="External"/><Relationship Id="rId14" Type="http://schemas.openxmlformats.org/officeDocument/2006/relationships/hyperlink" Target="https://journals.pnu.ac.ir/"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duotone>
              <a:schemeClr val="accent5">
                <a:shade val="45000"/>
                <a:satMod val="135000"/>
              </a:schemeClr>
              <a:prstClr val="white"/>
            </a:duotone>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0" y="0"/>
            <a:ext cx="12191999" cy="6858000"/>
          </a:xfrm>
          <a:prstGeom prst="rect">
            <a:avLst/>
          </a:prstGeom>
        </p:spPr>
      </p:pic>
    </p:spTree>
    <p:extLst>
      <p:ext uri="{BB962C8B-B14F-4D97-AF65-F5344CB8AC3E}">
        <p14:creationId xmlns:p14="http://schemas.microsoft.com/office/powerpoint/2010/main" val="467941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74000">
              <a:schemeClr val="accent5">
                <a:lumMod val="60000"/>
                <a:lumOff val="40000"/>
              </a:schemeClr>
            </a:gs>
            <a:gs pos="93000">
              <a:schemeClr val="bg1">
                <a:lumMod val="95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grpSp>
        <p:nvGrpSpPr>
          <p:cNvPr id="213" name="Group 212">
            <a:extLst>
              <a:ext uri="{FF2B5EF4-FFF2-40B4-BE49-F238E27FC236}">
                <a16:creationId xmlns:a16="http://schemas.microsoft.com/office/drawing/2014/main" xmlns="" id="{673E23FA-1240-4297-9783-EF12F38E8D71}"/>
              </a:ext>
            </a:extLst>
          </p:cNvPr>
          <p:cNvGrpSpPr/>
          <p:nvPr/>
        </p:nvGrpSpPr>
        <p:grpSpPr>
          <a:xfrm>
            <a:off x="4619223" y="3443908"/>
            <a:ext cx="2929511" cy="3412446"/>
            <a:chOff x="4619223" y="3443908"/>
            <a:chExt cx="2929511" cy="3412446"/>
          </a:xfrm>
        </p:grpSpPr>
        <p:sp>
          <p:nvSpPr>
            <p:cNvPr id="214" name="Freeform: Shape 54">
              <a:extLst>
                <a:ext uri="{FF2B5EF4-FFF2-40B4-BE49-F238E27FC236}">
                  <a16:creationId xmlns:a16="http://schemas.microsoft.com/office/drawing/2014/main" xmlns="" id="{F77BCB57-9F08-4ABE-B7F1-4B56DC0C0C00}"/>
                </a:ext>
              </a:extLst>
            </p:cNvPr>
            <p:cNvSpPr/>
            <p:nvPr/>
          </p:nvSpPr>
          <p:spPr>
            <a:xfrm>
              <a:off x="4691847" y="3443908"/>
              <a:ext cx="2856887" cy="3092940"/>
            </a:xfrm>
            <a:custGeom>
              <a:avLst/>
              <a:gdLst>
                <a:gd name="connsiteX0" fmla="*/ 2985610 w 2985996"/>
                <a:gd name="connsiteY0" fmla="*/ 94967 h 3232717"/>
                <a:gd name="connsiteX1" fmla="*/ 2979648 w 2985996"/>
                <a:gd name="connsiteY1" fmla="*/ 68990 h 3232717"/>
                <a:gd name="connsiteX2" fmla="*/ 2943023 w 2985996"/>
                <a:gd name="connsiteY2" fmla="*/ 19590 h 3232717"/>
                <a:gd name="connsiteX3" fmla="*/ 2904696 w 2985996"/>
                <a:gd name="connsiteY3" fmla="*/ 0 h 3232717"/>
                <a:gd name="connsiteX4" fmla="*/ 94433 w 2985996"/>
                <a:gd name="connsiteY4" fmla="*/ 8517 h 3232717"/>
                <a:gd name="connsiteX5" fmla="*/ 62493 w 2985996"/>
                <a:gd name="connsiteY5" fmla="*/ 21293 h 3232717"/>
                <a:gd name="connsiteX6" fmla="*/ 8834 w 2985996"/>
                <a:gd name="connsiteY6" fmla="*/ 72822 h 3232717"/>
                <a:gd name="connsiteX7" fmla="*/ 1169 w 2985996"/>
                <a:gd name="connsiteY7" fmla="*/ 108595 h 3232717"/>
                <a:gd name="connsiteX8" fmla="*/ 145110 w 2985996"/>
                <a:gd name="connsiteY8" fmla="*/ 1323153 h 3232717"/>
                <a:gd name="connsiteX9" fmla="*/ 138296 w 2985996"/>
                <a:gd name="connsiteY9" fmla="*/ 1399382 h 3232717"/>
                <a:gd name="connsiteX10" fmla="*/ 136593 w 2985996"/>
                <a:gd name="connsiteY10" fmla="*/ 1418120 h 3232717"/>
                <a:gd name="connsiteX11" fmla="*/ 142129 w 2985996"/>
                <a:gd name="connsiteY11" fmla="*/ 3154785 h 3232717"/>
                <a:gd name="connsiteX12" fmla="*/ 180031 w 2985996"/>
                <a:gd name="connsiteY12" fmla="*/ 3232718 h 3232717"/>
                <a:gd name="connsiteX13" fmla="*/ 2854019 w 2985996"/>
                <a:gd name="connsiteY13" fmla="*/ 3190132 h 3232717"/>
                <a:gd name="connsiteX14" fmla="*/ 2879570 w 2985996"/>
                <a:gd name="connsiteY14" fmla="*/ 3164580 h 3232717"/>
                <a:gd name="connsiteX15" fmla="*/ 2877015 w 2985996"/>
                <a:gd name="connsiteY15" fmla="*/ 1895937 h 3232717"/>
                <a:gd name="connsiteX16" fmla="*/ 2871053 w 2985996"/>
                <a:gd name="connsiteY16" fmla="*/ 1336355 h 3232717"/>
                <a:gd name="connsiteX17" fmla="*/ 2868072 w 2985996"/>
                <a:gd name="connsiteY17" fmla="*/ 1272901 h 3232717"/>
                <a:gd name="connsiteX18" fmla="*/ 2985610 w 2985996"/>
                <a:gd name="connsiteY18" fmla="*/ 94967 h 323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5996" h="3232717">
                  <a:moveTo>
                    <a:pt x="2985610" y="94967"/>
                  </a:moveTo>
                  <a:cubicBezTo>
                    <a:pt x="2986462" y="85598"/>
                    <a:pt x="2986462" y="77081"/>
                    <a:pt x="2979648" y="68990"/>
                  </a:cubicBezTo>
                  <a:cubicBezTo>
                    <a:pt x="2966446" y="53233"/>
                    <a:pt x="2954096" y="36624"/>
                    <a:pt x="2943023" y="19590"/>
                  </a:cubicBezTo>
                  <a:cubicBezTo>
                    <a:pt x="2933655" y="5110"/>
                    <a:pt x="2922582" y="0"/>
                    <a:pt x="2904696" y="0"/>
                  </a:cubicBezTo>
                  <a:cubicBezTo>
                    <a:pt x="2693894" y="2555"/>
                    <a:pt x="237096" y="8517"/>
                    <a:pt x="94433" y="8517"/>
                  </a:cubicBezTo>
                  <a:cubicBezTo>
                    <a:pt x="81231" y="8517"/>
                    <a:pt x="71436" y="11924"/>
                    <a:pt x="62493" y="21293"/>
                  </a:cubicBezTo>
                  <a:cubicBezTo>
                    <a:pt x="45033" y="38753"/>
                    <a:pt x="26721" y="55788"/>
                    <a:pt x="8834" y="72822"/>
                  </a:cubicBezTo>
                  <a:cubicBezTo>
                    <a:pt x="-2664" y="82617"/>
                    <a:pt x="-109" y="95819"/>
                    <a:pt x="1169" y="108595"/>
                  </a:cubicBezTo>
                  <a:cubicBezTo>
                    <a:pt x="5002" y="147774"/>
                    <a:pt x="126798" y="1206893"/>
                    <a:pt x="145110" y="1323153"/>
                  </a:cubicBezTo>
                  <a:cubicBezTo>
                    <a:pt x="148943" y="1348705"/>
                    <a:pt x="160441" y="1375108"/>
                    <a:pt x="138296" y="1399382"/>
                  </a:cubicBezTo>
                  <a:cubicBezTo>
                    <a:pt x="134889" y="1403215"/>
                    <a:pt x="136593" y="1411732"/>
                    <a:pt x="136593" y="1418120"/>
                  </a:cubicBezTo>
                  <a:cubicBezTo>
                    <a:pt x="138722" y="1735813"/>
                    <a:pt x="141703" y="2893732"/>
                    <a:pt x="142129" y="3154785"/>
                  </a:cubicBezTo>
                  <a:cubicBezTo>
                    <a:pt x="141703" y="3200353"/>
                    <a:pt x="119559" y="3232718"/>
                    <a:pt x="180031" y="3232718"/>
                  </a:cubicBezTo>
                  <a:cubicBezTo>
                    <a:pt x="180031" y="3232718"/>
                    <a:pt x="2838687" y="3188428"/>
                    <a:pt x="2854019" y="3190132"/>
                  </a:cubicBezTo>
                  <a:cubicBezTo>
                    <a:pt x="2874460" y="3192261"/>
                    <a:pt x="2879570" y="3185447"/>
                    <a:pt x="2879570" y="3164580"/>
                  </a:cubicBezTo>
                  <a:cubicBezTo>
                    <a:pt x="2877867" y="2741699"/>
                    <a:pt x="2881273" y="2318818"/>
                    <a:pt x="2877015" y="1895937"/>
                  </a:cubicBezTo>
                  <a:cubicBezTo>
                    <a:pt x="2874886" y="1709410"/>
                    <a:pt x="2876163" y="1522882"/>
                    <a:pt x="2871053" y="1336355"/>
                  </a:cubicBezTo>
                  <a:cubicBezTo>
                    <a:pt x="2870627" y="1315062"/>
                    <a:pt x="2865943" y="1294194"/>
                    <a:pt x="2868072" y="1272901"/>
                  </a:cubicBezTo>
                  <a:cubicBezTo>
                    <a:pt x="2877441" y="1177082"/>
                    <a:pt x="2977944" y="170345"/>
                    <a:pt x="2985610" y="94967"/>
                  </a:cubicBezTo>
                  <a:close/>
                </a:path>
              </a:pathLst>
            </a:custGeom>
            <a:solidFill>
              <a:srgbClr val="000000"/>
            </a:solidFill>
            <a:ln w="425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215" name="Freeform: Shape 142">
              <a:extLst>
                <a:ext uri="{FF2B5EF4-FFF2-40B4-BE49-F238E27FC236}">
                  <a16:creationId xmlns:a16="http://schemas.microsoft.com/office/drawing/2014/main" xmlns="" id="{ED109A4C-6AC2-4B7F-9045-961AD50B9D01}"/>
                </a:ext>
              </a:extLst>
            </p:cNvPr>
            <p:cNvSpPr/>
            <p:nvPr/>
          </p:nvSpPr>
          <p:spPr>
            <a:xfrm>
              <a:off x="6638374" y="6120789"/>
              <a:ext cx="874183" cy="735565"/>
            </a:xfrm>
            <a:custGeom>
              <a:avLst/>
              <a:gdLst>
                <a:gd name="connsiteX0" fmla="*/ 577622 w 874183"/>
                <a:gd name="connsiteY0" fmla="*/ 896 h 735565"/>
                <a:gd name="connsiteX1" fmla="*/ 613777 w 874183"/>
                <a:gd name="connsiteY1" fmla="*/ 39170 h 735565"/>
                <a:gd name="connsiteX2" fmla="*/ 715639 w 874183"/>
                <a:gd name="connsiteY2" fmla="*/ 304826 h 735565"/>
                <a:gd name="connsiteX3" fmla="*/ 738863 w 874183"/>
                <a:gd name="connsiteY3" fmla="*/ 375315 h 735565"/>
                <a:gd name="connsiteX4" fmla="*/ 775534 w 874183"/>
                <a:gd name="connsiteY4" fmla="*/ 475955 h 735565"/>
                <a:gd name="connsiteX5" fmla="*/ 850097 w 874183"/>
                <a:gd name="connsiteY5" fmla="*/ 673161 h 735565"/>
                <a:gd name="connsiteX6" fmla="*/ 874183 w 874183"/>
                <a:gd name="connsiteY6" fmla="*/ 735565 h 735565"/>
                <a:gd name="connsiteX7" fmla="*/ 178915 w 874183"/>
                <a:gd name="connsiteY7" fmla="*/ 735565 h 735565"/>
                <a:gd name="connsiteX8" fmla="*/ 162731 w 874183"/>
                <a:gd name="connsiteY8" fmla="*/ 687829 h 735565"/>
                <a:gd name="connsiteX9" fmla="*/ 60869 w 874183"/>
                <a:gd name="connsiteY9" fmla="*/ 392021 h 735565"/>
                <a:gd name="connsiteX10" fmla="*/ 6678 w 874183"/>
                <a:gd name="connsiteY10" fmla="*/ 229041 h 735565"/>
                <a:gd name="connsiteX11" fmla="*/ 27051 w 874183"/>
                <a:gd name="connsiteY11" fmla="*/ 183814 h 735565"/>
                <a:gd name="connsiteX12" fmla="*/ 38053 w 874183"/>
                <a:gd name="connsiteY12" fmla="*/ 178518 h 735565"/>
                <a:gd name="connsiteX13" fmla="*/ 232813 w 874183"/>
                <a:gd name="connsiteY13" fmla="*/ 114956 h 735565"/>
                <a:gd name="connsiteX14" fmla="*/ 550622 w 874183"/>
                <a:gd name="connsiteY14" fmla="*/ 8612 h 735565"/>
                <a:gd name="connsiteX15" fmla="*/ 577622 w 874183"/>
                <a:gd name="connsiteY15" fmla="*/ 896 h 73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4183" h="735565">
                  <a:moveTo>
                    <a:pt x="577622" y="896"/>
                  </a:moveTo>
                  <a:cubicBezTo>
                    <a:pt x="597810" y="-3077"/>
                    <a:pt x="600636" y="5556"/>
                    <a:pt x="613777" y="39170"/>
                  </a:cubicBezTo>
                  <a:cubicBezTo>
                    <a:pt x="648410" y="127586"/>
                    <a:pt x="681006" y="216410"/>
                    <a:pt x="715639" y="304826"/>
                  </a:cubicBezTo>
                  <a:cubicBezTo>
                    <a:pt x="724195" y="327237"/>
                    <a:pt x="734382" y="350461"/>
                    <a:pt x="738863" y="375315"/>
                  </a:cubicBezTo>
                  <a:cubicBezTo>
                    <a:pt x="746198" y="410763"/>
                    <a:pt x="762903" y="442545"/>
                    <a:pt x="775534" y="475955"/>
                  </a:cubicBezTo>
                  <a:cubicBezTo>
                    <a:pt x="799980" y="541962"/>
                    <a:pt x="824835" y="607561"/>
                    <a:pt x="850097" y="673161"/>
                  </a:cubicBezTo>
                  <a:lnTo>
                    <a:pt x="874183" y="735565"/>
                  </a:lnTo>
                  <a:lnTo>
                    <a:pt x="178915" y="735565"/>
                  </a:lnTo>
                  <a:lnTo>
                    <a:pt x="162731" y="687829"/>
                  </a:lnTo>
                  <a:cubicBezTo>
                    <a:pt x="128913" y="589226"/>
                    <a:pt x="97539" y="489401"/>
                    <a:pt x="60869" y="392021"/>
                  </a:cubicBezTo>
                  <a:cubicBezTo>
                    <a:pt x="45386" y="336607"/>
                    <a:pt x="23792" y="283639"/>
                    <a:pt x="6678" y="229041"/>
                  </a:cubicBezTo>
                  <a:cubicBezTo>
                    <a:pt x="-3101" y="198075"/>
                    <a:pt x="-6360" y="194409"/>
                    <a:pt x="27051" y="183814"/>
                  </a:cubicBezTo>
                  <a:cubicBezTo>
                    <a:pt x="30718" y="182593"/>
                    <a:pt x="34385" y="180148"/>
                    <a:pt x="38053" y="178518"/>
                  </a:cubicBezTo>
                  <a:cubicBezTo>
                    <a:pt x="104059" y="160997"/>
                    <a:pt x="168029" y="136144"/>
                    <a:pt x="232813" y="114956"/>
                  </a:cubicBezTo>
                  <a:cubicBezTo>
                    <a:pt x="338749" y="79915"/>
                    <a:pt x="445093" y="44468"/>
                    <a:pt x="550622" y="8612"/>
                  </a:cubicBezTo>
                  <a:cubicBezTo>
                    <a:pt x="562234" y="4945"/>
                    <a:pt x="570893" y="2220"/>
                    <a:pt x="577622" y="896"/>
                  </a:cubicBezTo>
                  <a:close/>
                </a:path>
              </a:pathLst>
            </a:custGeom>
            <a:solidFill>
              <a:sysClr val="window" lastClr="FFFFFF"/>
            </a:solidFill>
            <a:ln w="4251"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216" name="Freeform: Shape 141">
              <a:extLst>
                <a:ext uri="{FF2B5EF4-FFF2-40B4-BE49-F238E27FC236}">
                  <a16:creationId xmlns:a16="http://schemas.microsoft.com/office/drawing/2014/main" xmlns="" id="{AE6737C3-5DB4-4F12-B6F1-B230DD604B5B}"/>
                </a:ext>
              </a:extLst>
            </p:cNvPr>
            <p:cNvSpPr/>
            <p:nvPr/>
          </p:nvSpPr>
          <p:spPr>
            <a:xfrm>
              <a:off x="4619223" y="6448563"/>
              <a:ext cx="779087" cy="407791"/>
            </a:xfrm>
            <a:custGeom>
              <a:avLst/>
              <a:gdLst>
                <a:gd name="connsiteX0" fmla="*/ 220120 w 779087"/>
                <a:gd name="connsiteY0" fmla="*/ 73 h 407791"/>
                <a:gd name="connsiteX1" fmla="*/ 246502 w 779087"/>
                <a:gd name="connsiteY1" fmla="*/ 9241 h 407791"/>
                <a:gd name="connsiteX2" fmla="*/ 502380 w 779087"/>
                <a:gd name="connsiteY2" fmla="*/ 128216 h 407791"/>
                <a:gd name="connsiteX3" fmla="*/ 708550 w 779087"/>
                <a:gd name="connsiteY3" fmla="*/ 223558 h 407791"/>
                <a:gd name="connsiteX4" fmla="*/ 728921 w 779087"/>
                <a:gd name="connsiteY4" fmla="*/ 239449 h 407791"/>
                <a:gd name="connsiteX5" fmla="*/ 765591 w 779087"/>
                <a:gd name="connsiteY5" fmla="*/ 255339 h 407791"/>
                <a:gd name="connsiteX6" fmla="*/ 774556 w 779087"/>
                <a:gd name="connsiteY6" fmla="*/ 282231 h 407791"/>
                <a:gd name="connsiteX7" fmla="*/ 715066 w 779087"/>
                <a:gd name="connsiteY7" fmla="*/ 407791 h 407791"/>
                <a:gd name="connsiteX8" fmla="*/ 0 w 779087"/>
                <a:gd name="connsiteY8" fmla="*/ 407791 h 407791"/>
                <a:gd name="connsiteX9" fmla="*/ 129565 w 779087"/>
                <a:gd name="connsiteY9" fmla="*/ 158774 h 407791"/>
                <a:gd name="connsiteX10" fmla="*/ 204128 w 779087"/>
                <a:gd name="connsiteY10" fmla="*/ 14130 h 407791"/>
                <a:gd name="connsiteX11" fmla="*/ 220120 w 779087"/>
                <a:gd name="connsiteY11" fmla="*/ 73 h 40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9087" h="407791">
                  <a:moveTo>
                    <a:pt x="220120" y="73"/>
                  </a:moveTo>
                  <a:cubicBezTo>
                    <a:pt x="225519" y="-539"/>
                    <a:pt x="232649" y="2721"/>
                    <a:pt x="246502" y="9241"/>
                  </a:cubicBezTo>
                  <a:cubicBezTo>
                    <a:pt x="332067" y="48356"/>
                    <a:pt x="416815" y="89101"/>
                    <a:pt x="502380" y="128216"/>
                  </a:cubicBezTo>
                  <a:cubicBezTo>
                    <a:pt x="571239" y="159589"/>
                    <a:pt x="639690" y="192593"/>
                    <a:pt x="708550" y="223558"/>
                  </a:cubicBezTo>
                  <a:cubicBezTo>
                    <a:pt x="717105" y="227225"/>
                    <a:pt x="726070" y="229670"/>
                    <a:pt x="728921" y="239449"/>
                  </a:cubicBezTo>
                  <a:cubicBezTo>
                    <a:pt x="741145" y="244746"/>
                    <a:pt x="752960" y="251265"/>
                    <a:pt x="765591" y="255339"/>
                  </a:cubicBezTo>
                  <a:cubicBezTo>
                    <a:pt x="781890" y="260636"/>
                    <a:pt x="781483" y="268378"/>
                    <a:pt x="774556" y="282231"/>
                  </a:cubicBezTo>
                  <a:lnTo>
                    <a:pt x="715066" y="407791"/>
                  </a:lnTo>
                  <a:lnTo>
                    <a:pt x="0" y="407791"/>
                  </a:lnTo>
                  <a:lnTo>
                    <a:pt x="129565" y="158774"/>
                  </a:lnTo>
                  <a:cubicBezTo>
                    <a:pt x="154826" y="110695"/>
                    <a:pt x="180088" y="62616"/>
                    <a:pt x="204128" y="14130"/>
                  </a:cubicBezTo>
                  <a:cubicBezTo>
                    <a:pt x="211055" y="5166"/>
                    <a:pt x="214722" y="684"/>
                    <a:pt x="220120" y="73"/>
                  </a:cubicBezTo>
                  <a:close/>
                </a:path>
              </a:pathLst>
            </a:custGeom>
            <a:solidFill>
              <a:sysClr val="window" lastClr="FFFFFF"/>
            </a:solidFill>
            <a:ln w="4251"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217" name="Freeform: Shape 149">
              <a:extLst>
                <a:ext uri="{FF2B5EF4-FFF2-40B4-BE49-F238E27FC236}">
                  <a16:creationId xmlns:a16="http://schemas.microsoft.com/office/drawing/2014/main" xmlns="" id="{866CC901-A33C-4092-8164-A479F2B89BB3}"/>
                </a:ext>
              </a:extLst>
            </p:cNvPr>
            <p:cNvSpPr/>
            <p:nvPr/>
          </p:nvSpPr>
          <p:spPr>
            <a:xfrm>
              <a:off x="4863278" y="5024451"/>
              <a:ext cx="2453282" cy="1663969"/>
            </a:xfrm>
            <a:custGeom>
              <a:avLst/>
              <a:gdLst>
                <a:gd name="connsiteX0" fmla="*/ 532166 w 2453282"/>
                <a:gd name="connsiteY0" fmla="*/ 402375 h 1663969"/>
                <a:gd name="connsiteX1" fmla="*/ 574910 w 2453282"/>
                <a:gd name="connsiteY1" fmla="*/ 445291 h 1663969"/>
                <a:gd name="connsiteX2" fmla="*/ 561465 w 2453282"/>
                <a:gd name="connsiteY2" fmla="*/ 514150 h 1663969"/>
                <a:gd name="connsiteX3" fmla="*/ 489753 w 2453282"/>
                <a:gd name="connsiteY3" fmla="*/ 661646 h 1663969"/>
                <a:gd name="connsiteX4" fmla="*/ 455935 w 2453282"/>
                <a:gd name="connsiteY4" fmla="*/ 913450 h 1663969"/>
                <a:gd name="connsiteX5" fmla="*/ 455935 w 2453282"/>
                <a:gd name="connsiteY5" fmla="*/ 948898 h 1663969"/>
                <a:gd name="connsiteX6" fmla="*/ 565946 w 2453282"/>
                <a:gd name="connsiteY6" fmla="*/ 741914 h 1663969"/>
                <a:gd name="connsiteX7" fmla="*/ 622989 w 2453282"/>
                <a:gd name="connsiteY7" fmla="*/ 553672 h 1663969"/>
                <a:gd name="connsiteX8" fmla="*/ 653141 w 2453282"/>
                <a:gd name="connsiteY8" fmla="*/ 499074 h 1663969"/>
                <a:gd name="connsiteX9" fmla="*/ 711406 w 2453282"/>
                <a:gd name="connsiteY9" fmla="*/ 480739 h 1663969"/>
                <a:gd name="connsiteX10" fmla="*/ 736667 w 2453282"/>
                <a:gd name="connsiteY10" fmla="*/ 527595 h 1663969"/>
                <a:gd name="connsiteX11" fmla="*/ 718739 w 2453282"/>
                <a:gd name="connsiteY11" fmla="*/ 674277 h 1663969"/>
                <a:gd name="connsiteX12" fmla="*/ 650289 w 2453282"/>
                <a:gd name="connsiteY12" fmla="*/ 970899 h 1663969"/>
                <a:gd name="connsiteX13" fmla="*/ 595282 w 2453282"/>
                <a:gd name="connsiteY13" fmla="*/ 1278931 h 1663969"/>
                <a:gd name="connsiteX14" fmla="*/ 595282 w 2453282"/>
                <a:gd name="connsiteY14" fmla="*/ 1287080 h 1663969"/>
                <a:gd name="connsiteX15" fmla="*/ 602617 w 2453282"/>
                <a:gd name="connsiteY15" fmla="*/ 1276079 h 1663969"/>
                <a:gd name="connsiteX16" fmla="*/ 709776 w 2453282"/>
                <a:gd name="connsiteY16" fmla="*/ 1009607 h 1663969"/>
                <a:gd name="connsiteX17" fmla="*/ 828751 w 2453282"/>
                <a:gd name="connsiteY17" fmla="*/ 915487 h 1663969"/>
                <a:gd name="connsiteX18" fmla="*/ 880905 w 2453282"/>
                <a:gd name="connsiteY18" fmla="*/ 919154 h 1663969"/>
                <a:gd name="connsiteX19" fmla="*/ 891498 w 2453282"/>
                <a:gd name="connsiteY19" fmla="*/ 941971 h 1663969"/>
                <a:gd name="connsiteX20" fmla="*/ 774153 w 2453282"/>
                <a:gd name="connsiteY20" fmla="*/ 1252039 h 1663969"/>
                <a:gd name="connsiteX21" fmla="*/ 642954 w 2453282"/>
                <a:gd name="connsiteY21" fmla="*/ 1508732 h 1663969"/>
                <a:gd name="connsiteX22" fmla="*/ 585912 w 2453282"/>
                <a:gd name="connsiteY22" fmla="*/ 1573516 h 1663969"/>
                <a:gd name="connsiteX23" fmla="*/ 506052 w 2453282"/>
                <a:gd name="connsiteY23" fmla="*/ 1650524 h 1663969"/>
                <a:gd name="connsiteX24" fmla="*/ 484457 w 2453282"/>
                <a:gd name="connsiteY24" fmla="*/ 1663969 h 1663969"/>
                <a:gd name="connsiteX25" fmla="*/ 19557 w 2453282"/>
                <a:gd name="connsiteY25" fmla="*/ 1447207 h 1663969"/>
                <a:gd name="connsiteX26" fmla="*/ 0 w 2453282"/>
                <a:gd name="connsiteY26" fmla="*/ 1437428 h 1663969"/>
                <a:gd name="connsiteX27" fmla="*/ 13039 w 2453282"/>
                <a:gd name="connsiteY27" fmla="*/ 1040574 h 1663969"/>
                <a:gd name="connsiteX28" fmla="*/ 57450 w 2453282"/>
                <a:gd name="connsiteY28" fmla="*/ 669795 h 1663969"/>
                <a:gd name="connsiteX29" fmla="*/ 104714 w 2453282"/>
                <a:gd name="connsiteY29" fmla="*/ 560599 h 1663969"/>
                <a:gd name="connsiteX30" fmla="*/ 152793 w 2453282"/>
                <a:gd name="connsiteY30" fmla="*/ 532485 h 1663969"/>
                <a:gd name="connsiteX31" fmla="*/ 191909 w 2453282"/>
                <a:gd name="connsiteY31" fmla="*/ 583009 h 1663969"/>
                <a:gd name="connsiteX32" fmla="*/ 185389 w 2453282"/>
                <a:gd name="connsiteY32" fmla="*/ 651460 h 1663969"/>
                <a:gd name="connsiteX33" fmla="*/ 235913 w 2453282"/>
                <a:gd name="connsiteY33" fmla="*/ 574453 h 1663969"/>
                <a:gd name="connsiteX34" fmla="*/ 314551 w 2453282"/>
                <a:gd name="connsiteY34" fmla="*/ 476257 h 1663969"/>
                <a:gd name="connsiteX35" fmla="*/ 354888 w 2453282"/>
                <a:gd name="connsiteY35" fmla="*/ 445698 h 1663969"/>
                <a:gd name="connsiteX36" fmla="*/ 424154 w 2453282"/>
                <a:gd name="connsiteY36" fmla="*/ 491741 h 1663969"/>
                <a:gd name="connsiteX37" fmla="*/ 475900 w 2453282"/>
                <a:gd name="connsiteY37" fmla="*/ 431845 h 1663969"/>
                <a:gd name="connsiteX38" fmla="*/ 508496 w 2453282"/>
                <a:gd name="connsiteY38" fmla="*/ 408213 h 1663969"/>
                <a:gd name="connsiteX39" fmla="*/ 532166 w 2453282"/>
                <a:gd name="connsiteY39" fmla="*/ 402375 h 1663969"/>
                <a:gd name="connsiteX40" fmla="*/ 2040094 w 2453282"/>
                <a:gd name="connsiteY40" fmla="*/ 1578 h 1663969"/>
                <a:gd name="connsiteX41" fmla="*/ 2089803 w 2453282"/>
                <a:gd name="connsiteY41" fmla="*/ 22358 h 1663969"/>
                <a:gd name="connsiteX42" fmla="*/ 2134622 w 2453282"/>
                <a:gd name="connsiteY42" fmla="*/ 98959 h 1663969"/>
                <a:gd name="connsiteX43" fmla="*/ 2141957 w 2453282"/>
                <a:gd name="connsiteY43" fmla="*/ 116071 h 1663969"/>
                <a:gd name="connsiteX44" fmla="*/ 2172515 w 2453282"/>
                <a:gd name="connsiteY44" fmla="*/ 73697 h 1663969"/>
                <a:gd name="connsiteX45" fmla="*/ 2223854 w 2453282"/>
                <a:gd name="connsiteY45" fmla="*/ 90810 h 1663969"/>
                <a:gd name="connsiteX46" fmla="*/ 2273562 w 2453282"/>
                <a:gd name="connsiteY46" fmla="*/ 167002 h 1663969"/>
                <a:gd name="connsiteX47" fmla="*/ 2326530 w 2453282"/>
                <a:gd name="connsiteY47" fmla="*/ 307164 h 1663969"/>
                <a:gd name="connsiteX48" fmla="*/ 2333864 w 2453282"/>
                <a:gd name="connsiteY48" fmla="*/ 328352 h 1663969"/>
                <a:gd name="connsiteX49" fmla="*/ 2338346 w 2453282"/>
                <a:gd name="connsiteY49" fmla="*/ 282718 h 1663969"/>
                <a:gd name="connsiteX50" fmla="*/ 2350570 w 2453282"/>
                <a:gd name="connsiteY50" fmla="*/ 250937 h 1663969"/>
                <a:gd name="connsiteX51" fmla="*/ 2396611 w 2453282"/>
                <a:gd name="connsiteY51" fmla="*/ 222823 h 1663969"/>
                <a:gd name="connsiteX52" fmla="*/ 2432874 w 2453282"/>
                <a:gd name="connsiteY52" fmla="*/ 257049 h 1663969"/>
                <a:gd name="connsiteX53" fmla="*/ 2453247 w 2453282"/>
                <a:gd name="connsiteY53" fmla="*/ 394766 h 1663969"/>
                <a:gd name="connsiteX54" fmla="*/ 2414132 w 2453282"/>
                <a:gd name="connsiteY54" fmla="*/ 698723 h 1663969"/>
                <a:gd name="connsiteX55" fmla="*/ 2327346 w 2453282"/>
                <a:gd name="connsiteY55" fmla="*/ 1097208 h 1663969"/>
                <a:gd name="connsiteX56" fmla="*/ 2326123 w 2453282"/>
                <a:gd name="connsiteY56" fmla="*/ 1107393 h 1663969"/>
                <a:gd name="connsiteX57" fmla="*/ 2176590 w 2453282"/>
                <a:gd name="connsiteY57" fmla="*/ 1159140 h 1663969"/>
                <a:gd name="connsiteX58" fmla="*/ 1839222 w 2453282"/>
                <a:gd name="connsiteY58" fmla="*/ 1271596 h 1663969"/>
                <a:gd name="connsiteX59" fmla="*/ 1813146 w 2453282"/>
                <a:gd name="connsiteY59" fmla="*/ 1276892 h 1663969"/>
                <a:gd name="connsiteX60" fmla="*/ 1672983 w 2453282"/>
                <a:gd name="connsiteY60" fmla="*/ 1034868 h 1663969"/>
                <a:gd name="connsiteX61" fmla="*/ 1617570 w 2453282"/>
                <a:gd name="connsiteY61" fmla="*/ 796918 h 1663969"/>
                <a:gd name="connsiteX62" fmla="*/ 1597198 w 2453282"/>
                <a:gd name="connsiteY62" fmla="*/ 527187 h 1663969"/>
                <a:gd name="connsiteX63" fmla="*/ 1579270 w 2453282"/>
                <a:gd name="connsiteY63" fmla="*/ 442031 h 1663969"/>
                <a:gd name="connsiteX64" fmla="*/ 1598013 w 2453282"/>
                <a:gd name="connsiteY64" fmla="*/ 416768 h 1663969"/>
                <a:gd name="connsiteX65" fmla="*/ 1695801 w 2453282"/>
                <a:gd name="connsiteY65" fmla="*/ 466478 h 1663969"/>
                <a:gd name="connsiteX66" fmla="*/ 1752029 w 2453282"/>
                <a:gd name="connsiteY66" fmla="*/ 612344 h 1663969"/>
                <a:gd name="connsiteX67" fmla="*/ 1772808 w 2453282"/>
                <a:gd name="connsiteY67" fmla="*/ 812401 h 1663969"/>
                <a:gd name="connsiteX68" fmla="*/ 1777290 w 2453282"/>
                <a:gd name="connsiteY68" fmla="*/ 842145 h 1663969"/>
                <a:gd name="connsiteX69" fmla="*/ 1787883 w 2453282"/>
                <a:gd name="connsiteY69" fmla="*/ 761878 h 1663969"/>
                <a:gd name="connsiteX70" fmla="*/ 1809886 w 2453282"/>
                <a:gd name="connsiteY70" fmla="*/ 251751 h 1663969"/>
                <a:gd name="connsiteX71" fmla="*/ 1824962 w 2453282"/>
                <a:gd name="connsiteY71" fmla="*/ 92032 h 1663969"/>
                <a:gd name="connsiteX72" fmla="*/ 1834741 w 2453282"/>
                <a:gd name="connsiteY72" fmla="*/ 61066 h 1663969"/>
                <a:gd name="connsiteX73" fmla="*/ 1906859 w 2453282"/>
                <a:gd name="connsiteY73" fmla="*/ 50065 h 1663969"/>
                <a:gd name="connsiteX74" fmla="*/ 1934972 w 2453282"/>
                <a:gd name="connsiteY74" fmla="*/ 135222 h 1663969"/>
                <a:gd name="connsiteX75" fmla="*/ 1943529 w 2453282"/>
                <a:gd name="connsiteY75" fmla="*/ 336501 h 1663969"/>
                <a:gd name="connsiteX76" fmla="*/ 1996905 w 2453282"/>
                <a:gd name="connsiteY76" fmla="*/ 549597 h 1663969"/>
                <a:gd name="connsiteX77" fmla="*/ 2040094 w 2453282"/>
                <a:gd name="connsiteY77" fmla="*/ 305942 h 1663969"/>
                <a:gd name="connsiteX78" fmla="*/ 2006683 w 2453282"/>
                <a:gd name="connsiteY78" fmla="*/ 122183 h 1663969"/>
                <a:gd name="connsiteX79" fmla="*/ 2003424 w 2453282"/>
                <a:gd name="connsiteY79" fmla="*/ 43953 h 1663969"/>
                <a:gd name="connsiteX80" fmla="*/ 2040094 w 2453282"/>
                <a:gd name="connsiteY80" fmla="*/ 1578 h 166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453282" h="1663969">
                  <a:moveTo>
                    <a:pt x="532166" y="402375"/>
                  </a:moveTo>
                  <a:cubicBezTo>
                    <a:pt x="554436" y="402126"/>
                    <a:pt x="571549" y="418093"/>
                    <a:pt x="574910" y="445291"/>
                  </a:cubicBezTo>
                  <a:cubicBezTo>
                    <a:pt x="577762" y="469738"/>
                    <a:pt x="571650" y="492555"/>
                    <a:pt x="561465" y="514150"/>
                  </a:cubicBezTo>
                  <a:cubicBezTo>
                    <a:pt x="537833" y="563451"/>
                    <a:pt x="512164" y="611938"/>
                    <a:pt x="489753" y="661646"/>
                  </a:cubicBezTo>
                  <a:cubicBezTo>
                    <a:pt x="454305" y="741914"/>
                    <a:pt x="453898" y="827478"/>
                    <a:pt x="455935" y="913450"/>
                  </a:cubicBezTo>
                  <a:cubicBezTo>
                    <a:pt x="456342" y="923228"/>
                    <a:pt x="455935" y="933414"/>
                    <a:pt x="455935" y="948898"/>
                  </a:cubicBezTo>
                  <a:cubicBezTo>
                    <a:pt x="503606" y="881261"/>
                    <a:pt x="542722" y="815662"/>
                    <a:pt x="565946" y="741914"/>
                  </a:cubicBezTo>
                  <a:cubicBezTo>
                    <a:pt x="585504" y="679166"/>
                    <a:pt x="603840" y="616419"/>
                    <a:pt x="622989" y="553672"/>
                  </a:cubicBezTo>
                  <a:cubicBezTo>
                    <a:pt x="629101" y="533707"/>
                    <a:pt x="638065" y="514557"/>
                    <a:pt x="653141" y="499074"/>
                  </a:cubicBezTo>
                  <a:cubicBezTo>
                    <a:pt x="669031" y="482369"/>
                    <a:pt x="688181" y="472590"/>
                    <a:pt x="711406" y="480739"/>
                  </a:cubicBezTo>
                  <a:cubicBezTo>
                    <a:pt x="733001" y="488481"/>
                    <a:pt x="735445" y="508853"/>
                    <a:pt x="736667" y="527595"/>
                  </a:cubicBezTo>
                  <a:cubicBezTo>
                    <a:pt x="740334" y="577304"/>
                    <a:pt x="729741" y="626198"/>
                    <a:pt x="718739" y="674277"/>
                  </a:cubicBezTo>
                  <a:cubicBezTo>
                    <a:pt x="696330" y="773287"/>
                    <a:pt x="671069" y="871482"/>
                    <a:pt x="650289" y="970899"/>
                  </a:cubicBezTo>
                  <a:cubicBezTo>
                    <a:pt x="629101" y="1072762"/>
                    <a:pt x="611173" y="1175846"/>
                    <a:pt x="595282" y="1278931"/>
                  </a:cubicBezTo>
                  <a:cubicBezTo>
                    <a:pt x="594876" y="1281375"/>
                    <a:pt x="595282" y="1284227"/>
                    <a:pt x="595282" y="1287080"/>
                  </a:cubicBezTo>
                  <a:cubicBezTo>
                    <a:pt x="601802" y="1285857"/>
                    <a:pt x="601394" y="1280560"/>
                    <a:pt x="602617" y="1276079"/>
                  </a:cubicBezTo>
                  <a:cubicBezTo>
                    <a:pt x="633583" y="1185217"/>
                    <a:pt x="660474" y="1092727"/>
                    <a:pt x="709776" y="1009607"/>
                  </a:cubicBezTo>
                  <a:cubicBezTo>
                    <a:pt x="737075" y="963566"/>
                    <a:pt x="772930" y="926895"/>
                    <a:pt x="828751" y="915487"/>
                  </a:cubicBezTo>
                  <a:cubicBezTo>
                    <a:pt x="846678" y="911819"/>
                    <a:pt x="864199" y="913857"/>
                    <a:pt x="880905" y="919154"/>
                  </a:cubicBezTo>
                  <a:cubicBezTo>
                    <a:pt x="891090" y="922414"/>
                    <a:pt x="899240" y="928524"/>
                    <a:pt x="891498" y="941971"/>
                  </a:cubicBezTo>
                  <a:cubicBezTo>
                    <a:pt x="834048" y="1038536"/>
                    <a:pt x="810009" y="1147732"/>
                    <a:pt x="774153" y="1252039"/>
                  </a:cubicBezTo>
                  <a:cubicBezTo>
                    <a:pt x="742779" y="1344123"/>
                    <a:pt x="704886" y="1432539"/>
                    <a:pt x="642954" y="1508732"/>
                  </a:cubicBezTo>
                  <a:cubicBezTo>
                    <a:pt x="623804" y="1530327"/>
                    <a:pt x="605061" y="1551921"/>
                    <a:pt x="585912" y="1573516"/>
                  </a:cubicBezTo>
                  <a:cubicBezTo>
                    <a:pt x="559427" y="1599185"/>
                    <a:pt x="532536" y="1625261"/>
                    <a:pt x="506052" y="1650524"/>
                  </a:cubicBezTo>
                  <a:cubicBezTo>
                    <a:pt x="499940" y="1656636"/>
                    <a:pt x="494236" y="1663969"/>
                    <a:pt x="484457" y="1663969"/>
                  </a:cubicBezTo>
                  <a:cubicBezTo>
                    <a:pt x="329626" y="1591851"/>
                    <a:pt x="174388" y="1519733"/>
                    <a:pt x="19557" y="1447207"/>
                  </a:cubicBezTo>
                  <a:cubicBezTo>
                    <a:pt x="13446" y="1443947"/>
                    <a:pt x="6520" y="1440688"/>
                    <a:pt x="0" y="1437428"/>
                  </a:cubicBezTo>
                  <a:cubicBezTo>
                    <a:pt x="3260" y="1305007"/>
                    <a:pt x="4889" y="1172994"/>
                    <a:pt x="13039" y="1040574"/>
                  </a:cubicBezTo>
                  <a:cubicBezTo>
                    <a:pt x="20780" y="916302"/>
                    <a:pt x="26077" y="791215"/>
                    <a:pt x="57450" y="669795"/>
                  </a:cubicBezTo>
                  <a:cubicBezTo>
                    <a:pt x="67229" y="631087"/>
                    <a:pt x="81083" y="593602"/>
                    <a:pt x="104714" y="560599"/>
                  </a:cubicBezTo>
                  <a:cubicBezTo>
                    <a:pt x="116530" y="543894"/>
                    <a:pt x="130384" y="529633"/>
                    <a:pt x="152793" y="532485"/>
                  </a:cubicBezTo>
                  <a:cubicBezTo>
                    <a:pt x="169092" y="534522"/>
                    <a:pt x="188649" y="561006"/>
                    <a:pt x="191909" y="583009"/>
                  </a:cubicBezTo>
                  <a:cubicBezTo>
                    <a:pt x="195168" y="606233"/>
                    <a:pt x="190686" y="628643"/>
                    <a:pt x="185389" y="651460"/>
                  </a:cubicBezTo>
                  <a:cubicBezTo>
                    <a:pt x="202094" y="625791"/>
                    <a:pt x="218800" y="599714"/>
                    <a:pt x="235913" y="574453"/>
                  </a:cubicBezTo>
                  <a:cubicBezTo>
                    <a:pt x="259545" y="539411"/>
                    <a:pt x="284400" y="506001"/>
                    <a:pt x="314551" y="476257"/>
                  </a:cubicBezTo>
                  <a:cubicBezTo>
                    <a:pt x="326774" y="464034"/>
                    <a:pt x="340220" y="453847"/>
                    <a:pt x="354888" y="445698"/>
                  </a:cubicBezTo>
                  <a:cubicBezTo>
                    <a:pt x="394004" y="424918"/>
                    <a:pt x="425784" y="445291"/>
                    <a:pt x="424154" y="491741"/>
                  </a:cubicBezTo>
                  <a:cubicBezTo>
                    <a:pt x="442489" y="470961"/>
                    <a:pt x="456750" y="449366"/>
                    <a:pt x="475900" y="431845"/>
                  </a:cubicBezTo>
                  <a:cubicBezTo>
                    <a:pt x="486086" y="422881"/>
                    <a:pt x="496273" y="413917"/>
                    <a:pt x="508496" y="408213"/>
                  </a:cubicBezTo>
                  <a:cubicBezTo>
                    <a:pt x="516747" y="404343"/>
                    <a:pt x="524743" y="402458"/>
                    <a:pt x="532166" y="402375"/>
                  </a:cubicBezTo>
                  <a:close/>
                  <a:moveTo>
                    <a:pt x="2040094" y="1578"/>
                  </a:moveTo>
                  <a:cubicBezTo>
                    <a:pt x="2061282" y="-4533"/>
                    <a:pt x="2076358" y="8098"/>
                    <a:pt x="2089803" y="22358"/>
                  </a:cubicBezTo>
                  <a:cubicBezTo>
                    <a:pt x="2110175" y="44768"/>
                    <a:pt x="2121991" y="72067"/>
                    <a:pt x="2134622" y="98959"/>
                  </a:cubicBezTo>
                  <a:cubicBezTo>
                    <a:pt x="2136659" y="103440"/>
                    <a:pt x="2138696" y="108330"/>
                    <a:pt x="2141957" y="116071"/>
                  </a:cubicBezTo>
                  <a:cubicBezTo>
                    <a:pt x="2143994" y="93662"/>
                    <a:pt x="2154179" y="79401"/>
                    <a:pt x="2172515" y="73697"/>
                  </a:cubicBezTo>
                  <a:cubicBezTo>
                    <a:pt x="2192887" y="67993"/>
                    <a:pt x="2209593" y="76142"/>
                    <a:pt x="2223854" y="90810"/>
                  </a:cubicBezTo>
                  <a:cubicBezTo>
                    <a:pt x="2245855" y="112811"/>
                    <a:pt x="2260524" y="139296"/>
                    <a:pt x="2273562" y="167002"/>
                  </a:cubicBezTo>
                  <a:cubicBezTo>
                    <a:pt x="2294750" y="212230"/>
                    <a:pt x="2311047" y="259494"/>
                    <a:pt x="2326530" y="307164"/>
                  </a:cubicBezTo>
                  <a:cubicBezTo>
                    <a:pt x="2328567" y="313276"/>
                    <a:pt x="2330605" y="319388"/>
                    <a:pt x="2333864" y="328352"/>
                  </a:cubicBezTo>
                  <a:cubicBezTo>
                    <a:pt x="2335494" y="310831"/>
                    <a:pt x="2336717" y="296571"/>
                    <a:pt x="2338346" y="282718"/>
                  </a:cubicBezTo>
                  <a:cubicBezTo>
                    <a:pt x="2339976" y="271310"/>
                    <a:pt x="2343643" y="260308"/>
                    <a:pt x="2350570" y="250937"/>
                  </a:cubicBezTo>
                  <a:cubicBezTo>
                    <a:pt x="2361978" y="235046"/>
                    <a:pt x="2376239" y="221193"/>
                    <a:pt x="2396611" y="222823"/>
                  </a:cubicBezTo>
                  <a:cubicBezTo>
                    <a:pt x="2416577" y="224046"/>
                    <a:pt x="2425948" y="240343"/>
                    <a:pt x="2432874" y="257049"/>
                  </a:cubicBezTo>
                  <a:cubicBezTo>
                    <a:pt x="2450802" y="301460"/>
                    <a:pt x="2453654" y="347910"/>
                    <a:pt x="2453247" y="394766"/>
                  </a:cubicBezTo>
                  <a:cubicBezTo>
                    <a:pt x="2451617" y="497443"/>
                    <a:pt x="2432874" y="598083"/>
                    <a:pt x="2414132" y="698723"/>
                  </a:cubicBezTo>
                  <a:cubicBezTo>
                    <a:pt x="2389278" y="832366"/>
                    <a:pt x="2359126" y="965195"/>
                    <a:pt x="2327346" y="1097208"/>
                  </a:cubicBezTo>
                  <a:cubicBezTo>
                    <a:pt x="2326530" y="1100467"/>
                    <a:pt x="2326530" y="1104135"/>
                    <a:pt x="2326123" y="1107393"/>
                  </a:cubicBezTo>
                  <a:cubicBezTo>
                    <a:pt x="2276414" y="1124507"/>
                    <a:pt x="2226706" y="1142434"/>
                    <a:pt x="2176590" y="1159140"/>
                  </a:cubicBezTo>
                  <a:cubicBezTo>
                    <a:pt x="2064134" y="1197032"/>
                    <a:pt x="1951678" y="1234517"/>
                    <a:pt x="1839222" y="1271596"/>
                  </a:cubicBezTo>
                  <a:cubicBezTo>
                    <a:pt x="1831074" y="1275263"/>
                    <a:pt x="1822924" y="1282189"/>
                    <a:pt x="1813146" y="1276892"/>
                  </a:cubicBezTo>
                  <a:cubicBezTo>
                    <a:pt x="1763030" y="1198255"/>
                    <a:pt x="1711283" y="1120432"/>
                    <a:pt x="1672983" y="1034868"/>
                  </a:cubicBezTo>
                  <a:cubicBezTo>
                    <a:pt x="1639165" y="959083"/>
                    <a:pt x="1623682" y="879223"/>
                    <a:pt x="1617570" y="796918"/>
                  </a:cubicBezTo>
                  <a:cubicBezTo>
                    <a:pt x="1611051" y="706872"/>
                    <a:pt x="1605347" y="616826"/>
                    <a:pt x="1597198" y="527187"/>
                  </a:cubicBezTo>
                  <a:cubicBezTo>
                    <a:pt x="1594754" y="498259"/>
                    <a:pt x="1585790" y="470144"/>
                    <a:pt x="1579270" y="442031"/>
                  </a:cubicBezTo>
                  <a:cubicBezTo>
                    <a:pt x="1574789" y="422880"/>
                    <a:pt x="1578048" y="416768"/>
                    <a:pt x="1598013" y="416768"/>
                  </a:cubicBezTo>
                  <a:cubicBezTo>
                    <a:pt x="1639165" y="416768"/>
                    <a:pt x="1670539" y="435919"/>
                    <a:pt x="1695801" y="466478"/>
                  </a:cubicBezTo>
                  <a:cubicBezTo>
                    <a:pt x="1730841" y="508852"/>
                    <a:pt x="1742250" y="560191"/>
                    <a:pt x="1752029" y="612344"/>
                  </a:cubicBezTo>
                  <a:cubicBezTo>
                    <a:pt x="1763844" y="678351"/>
                    <a:pt x="1768734" y="745580"/>
                    <a:pt x="1772808" y="812401"/>
                  </a:cubicBezTo>
                  <a:cubicBezTo>
                    <a:pt x="1773623" y="822587"/>
                    <a:pt x="1774846" y="832366"/>
                    <a:pt x="1777290" y="842145"/>
                  </a:cubicBezTo>
                  <a:cubicBezTo>
                    <a:pt x="1785031" y="816068"/>
                    <a:pt x="1785847" y="788769"/>
                    <a:pt x="1787883" y="761878"/>
                  </a:cubicBezTo>
                  <a:cubicBezTo>
                    <a:pt x="1802552" y="591972"/>
                    <a:pt x="1809886" y="422066"/>
                    <a:pt x="1809886" y="251751"/>
                  </a:cubicBezTo>
                  <a:cubicBezTo>
                    <a:pt x="1809886" y="198376"/>
                    <a:pt x="1811923" y="144593"/>
                    <a:pt x="1824962" y="92032"/>
                  </a:cubicBezTo>
                  <a:cubicBezTo>
                    <a:pt x="1827406" y="81438"/>
                    <a:pt x="1830258" y="70845"/>
                    <a:pt x="1834741" y="61066"/>
                  </a:cubicBezTo>
                  <a:cubicBezTo>
                    <a:pt x="1850223" y="28063"/>
                    <a:pt x="1881190" y="23173"/>
                    <a:pt x="1906859" y="50065"/>
                  </a:cubicBezTo>
                  <a:cubicBezTo>
                    <a:pt x="1929269" y="73697"/>
                    <a:pt x="1933343" y="104663"/>
                    <a:pt x="1934972" y="135222"/>
                  </a:cubicBezTo>
                  <a:cubicBezTo>
                    <a:pt x="1938639" y="202043"/>
                    <a:pt x="1939455" y="269272"/>
                    <a:pt x="1943529" y="336501"/>
                  </a:cubicBezTo>
                  <a:cubicBezTo>
                    <a:pt x="1948011" y="409027"/>
                    <a:pt x="1969606" y="477886"/>
                    <a:pt x="1996905" y="549597"/>
                  </a:cubicBezTo>
                  <a:cubicBezTo>
                    <a:pt x="2020945" y="466885"/>
                    <a:pt x="2043762" y="388654"/>
                    <a:pt x="2040094" y="305942"/>
                  </a:cubicBezTo>
                  <a:cubicBezTo>
                    <a:pt x="2037242" y="243195"/>
                    <a:pt x="2019314" y="183300"/>
                    <a:pt x="2006683" y="122183"/>
                  </a:cubicBezTo>
                  <a:cubicBezTo>
                    <a:pt x="2001387" y="96106"/>
                    <a:pt x="1996090" y="70437"/>
                    <a:pt x="2003424" y="43953"/>
                  </a:cubicBezTo>
                  <a:cubicBezTo>
                    <a:pt x="2009128" y="23581"/>
                    <a:pt x="2019314" y="7690"/>
                    <a:pt x="2040094" y="1578"/>
                  </a:cubicBezTo>
                  <a:close/>
                </a:path>
              </a:pathLst>
            </a:custGeom>
            <a:solidFill>
              <a:srgbClr val="FDCA93"/>
            </a:solidFill>
            <a:ln w="4251"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218" name="Freeform: Shape 59">
              <a:extLst>
                <a:ext uri="{FF2B5EF4-FFF2-40B4-BE49-F238E27FC236}">
                  <a16:creationId xmlns:a16="http://schemas.microsoft.com/office/drawing/2014/main" xmlns="" id="{02860020-9FEC-4C25-AE77-628D6C546A62}"/>
                </a:ext>
              </a:extLst>
            </p:cNvPr>
            <p:cNvSpPr/>
            <p:nvPr/>
          </p:nvSpPr>
          <p:spPr>
            <a:xfrm>
              <a:off x="4805835" y="3545770"/>
              <a:ext cx="2650044" cy="1059772"/>
            </a:xfrm>
            <a:custGeom>
              <a:avLst/>
              <a:gdLst>
                <a:gd name="connsiteX0" fmla="*/ 2748080 w 2769805"/>
                <a:gd name="connsiteY0" fmla="*/ 0 h 1107666"/>
                <a:gd name="connsiteX1" fmla="*/ 2769374 w 2769805"/>
                <a:gd name="connsiteY1" fmla="*/ 22571 h 1107666"/>
                <a:gd name="connsiteX2" fmla="*/ 2667167 w 2769805"/>
                <a:gd name="connsiteY2" fmla="*/ 1082541 h 1107666"/>
                <a:gd name="connsiteX3" fmla="*/ 2647577 w 2769805"/>
                <a:gd name="connsiteY3" fmla="*/ 1101279 h 1107666"/>
                <a:gd name="connsiteX4" fmla="*/ 135843 w 2769805"/>
                <a:gd name="connsiteY4" fmla="*/ 1107667 h 1107666"/>
                <a:gd name="connsiteX5" fmla="*/ 110717 w 2769805"/>
                <a:gd name="connsiteY5" fmla="*/ 1085096 h 1107666"/>
                <a:gd name="connsiteX6" fmla="*/ 5529 w 2769805"/>
                <a:gd name="connsiteY6" fmla="*/ 48974 h 1107666"/>
                <a:gd name="connsiteX7" fmla="*/ 3826 w 2769805"/>
                <a:gd name="connsiteY7" fmla="*/ 11072 h 1107666"/>
                <a:gd name="connsiteX8" fmla="*/ 43005 w 2769805"/>
                <a:gd name="connsiteY8" fmla="*/ 8091 h 1107666"/>
                <a:gd name="connsiteX9" fmla="*/ 2748080 w 2769805"/>
                <a:gd name="connsiteY9" fmla="*/ 0 h 110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9805" h="1107666">
                  <a:moveTo>
                    <a:pt x="2748080" y="0"/>
                  </a:moveTo>
                  <a:cubicBezTo>
                    <a:pt x="2765966" y="0"/>
                    <a:pt x="2771503" y="2129"/>
                    <a:pt x="2769374" y="22571"/>
                  </a:cubicBezTo>
                  <a:cubicBezTo>
                    <a:pt x="2758301" y="121797"/>
                    <a:pt x="2671851" y="1019088"/>
                    <a:pt x="2667167" y="1082541"/>
                  </a:cubicBezTo>
                  <a:cubicBezTo>
                    <a:pt x="2665889" y="1097446"/>
                    <a:pt x="2662056" y="1101279"/>
                    <a:pt x="2647577" y="1101279"/>
                  </a:cubicBezTo>
                  <a:cubicBezTo>
                    <a:pt x="2514282" y="1101279"/>
                    <a:pt x="256362" y="1106815"/>
                    <a:pt x="135843" y="1107667"/>
                  </a:cubicBezTo>
                  <a:cubicBezTo>
                    <a:pt x="118382" y="1107667"/>
                    <a:pt x="112420" y="1104260"/>
                    <a:pt x="110717" y="1085096"/>
                  </a:cubicBezTo>
                  <a:cubicBezTo>
                    <a:pt x="103051" y="994814"/>
                    <a:pt x="14046" y="140109"/>
                    <a:pt x="5529" y="48974"/>
                  </a:cubicBezTo>
                  <a:cubicBezTo>
                    <a:pt x="4251" y="36198"/>
                    <a:pt x="-5118" y="18738"/>
                    <a:pt x="3826" y="11072"/>
                  </a:cubicBezTo>
                  <a:cubicBezTo>
                    <a:pt x="11917" y="4259"/>
                    <a:pt x="29377" y="8517"/>
                    <a:pt x="43005" y="8091"/>
                  </a:cubicBezTo>
                  <a:cubicBezTo>
                    <a:pt x="111569" y="8091"/>
                    <a:pt x="2492563" y="1703"/>
                    <a:pt x="2748080" y="0"/>
                  </a:cubicBezTo>
                  <a:close/>
                </a:path>
              </a:pathLst>
            </a:custGeom>
            <a:solidFill>
              <a:srgbClr val="AFD2C8"/>
            </a:solidFill>
            <a:ln w="4251"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sp>
          <p:nvSpPr>
            <p:cNvPr id="219" name="Freeform: Shape 153">
              <a:extLst>
                <a:ext uri="{FF2B5EF4-FFF2-40B4-BE49-F238E27FC236}">
                  <a16:creationId xmlns:a16="http://schemas.microsoft.com/office/drawing/2014/main" xmlns="" id="{5A39B69A-AA93-4C98-9D36-F4F9C82371C0}"/>
                </a:ext>
              </a:extLst>
            </p:cNvPr>
            <p:cNvSpPr/>
            <p:nvPr/>
          </p:nvSpPr>
          <p:spPr>
            <a:xfrm>
              <a:off x="5816361" y="3545771"/>
              <a:ext cx="1639520" cy="1056893"/>
            </a:xfrm>
            <a:custGeom>
              <a:avLst/>
              <a:gdLst>
                <a:gd name="connsiteX0" fmla="*/ 1492947 w 1513733"/>
                <a:gd name="connsiteY0" fmla="*/ 0 h 1056893"/>
                <a:gd name="connsiteX1" fmla="*/ 1513321 w 1513733"/>
                <a:gd name="connsiteY1" fmla="*/ 21595 h 1056893"/>
                <a:gd name="connsiteX2" fmla="*/ 1415533 w 1513733"/>
                <a:gd name="connsiteY2" fmla="*/ 1035734 h 1056893"/>
                <a:gd name="connsiteX3" fmla="*/ 1396790 w 1513733"/>
                <a:gd name="connsiteY3" fmla="*/ 1053661 h 1056893"/>
                <a:gd name="connsiteX4" fmla="*/ 190641 w 1513733"/>
                <a:gd name="connsiteY4" fmla="*/ 1056412 h 1056893"/>
                <a:gd name="connsiteX5" fmla="*/ 0 w 1513733"/>
                <a:gd name="connsiteY5" fmla="*/ 1056893 h 1056893"/>
                <a:gd name="connsiteX6" fmla="*/ 938674 w 1513733"/>
                <a:gd name="connsiteY6" fmla="*/ 2073 h 1056893"/>
                <a:gd name="connsiteX7" fmla="*/ 994644 w 1513733"/>
                <a:gd name="connsiteY7" fmla="*/ 1897 h 1056893"/>
                <a:gd name="connsiteX8" fmla="*/ 1492947 w 1513733"/>
                <a:gd name="connsiteY8" fmla="*/ 0 h 1056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3733" h="1056893">
                  <a:moveTo>
                    <a:pt x="1492947" y="0"/>
                  </a:moveTo>
                  <a:cubicBezTo>
                    <a:pt x="1510060" y="0"/>
                    <a:pt x="1515358" y="2037"/>
                    <a:pt x="1513321" y="21595"/>
                  </a:cubicBezTo>
                  <a:cubicBezTo>
                    <a:pt x="1502727" y="116531"/>
                    <a:pt x="1420014" y="975024"/>
                    <a:pt x="1415533" y="1035734"/>
                  </a:cubicBezTo>
                  <a:cubicBezTo>
                    <a:pt x="1414310" y="1049994"/>
                    <a:pt x="1410643" y="1053661"/>
                    <a:pt x="1396790" y="1053661"/>
                  </a:cubicBezTo>
                  <a:cubicBezTo>
                    <a:pt x="1333024" y="1053661"/>
                    <a:pt x="761068" y="1054986"/>
                    <a:pt x="190641" y="1056412"/>
                  </a:cubicBezTo>
                  <a:lnTo>
                    <a:pt x="0" y="1056893"/>
                  </a:lnTo>
                  <a:lnTo>
                    <a:pt x="938674" y="2073"/>
                  </a:lnTo>
                  <a:lnTo>
                    <a:pt x="994644" y="1897"/>
                  </a:lnTo>
                  <a:cubicBezTo>
                    <a:pt x="1243615" y="1095"/>
                    <a:pt x="1431830" y="407"/>
                    <a:pt x="1492947" y="0"/>
                  </a:cubicBezTo>
                  <a:close/>
                </a:path>
              </a:pathLst>
            </a:custGeom>
            <a:solidFill>
              <a:srgbClr val="AFD2C8">
                <a:lumMod val="75000"/>
              </a:srgbClr>
            </a:solidFill>
            <a:ln w="4251"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endParaRPr>
            </a:p>
          </p:txBody>
        </p:sp>
      </p:grpSp>
      <p:sp>
        <p:nvSpPr>
          <p:cNvPr id="256" name="TextBox 255">
            <a:extLst>
              <a:ext uri="{FF2B5EF4-FFF2-40B4-BE49-F238E27FC236}">
                <a16:creationId xmlns:a16="http://schemas.microsoft.com/office/drawing/2014/main" xmlns="" id="{DEBD119A-6453-4E2C-86BC-DD506044F6A5}"/>
              </a:ext>
            </a:extLst>
          </p:cNvPr>
          <p:cNvSpPr txBox="1"/>
          <p:nvPr/>
        </p:nvSpPr>
        <p:spPr>
          <a:xfrm flipH="1">
            <a:off x="2337610" y="670958"/>
            <a:ext cx="6803601" cy="2123658"/>
          </a:xfrm>
          <a:prstGeom prst="rect">
            <a:avLst/>
          </a:prstGeom>
          <a:noFill/>
        </p:spPr>
        <p:txBody>
          <a:bodyPr wrap="square" rtlCol="0">
            <a:spAutoFit/>
          </a:bodyPr>
          <a:lstStyle/>
          <a:p>
            <a:pPr algn="ctr" rtl="1">
              <a:defRPr/>
            </a:pPr>
            <a:r>
              <a:rPr lang="fa-IR" sz="2400" dirty="0" smtClean="0">
                <a:solidFill>
                  <a:schemeClr val="accent5">
                    <a:lumMod val="75000"/>
                  </a:schemeClr>
                </a:solidFill>
                <a:ea typeface="宋体"/>
                <a:cs typeface="B Yekan" panose="00000400000000000000" pitchFamily="2" charset="-78"/>
              </a:rPr>
              <a:t>آشنایی </a:t>
            </a:r>
            <a:r>
              <a:rPr lang="fa-IR" sz="2400" dirty="0">
                <a:solidFill>
                  <a:schemeClr val="accent5">
                    <a:lumMod val="75000"/>
                  </a:schemeClr>
                </a:solidFill>
                <a:ea typeface="宋体"/>
                <a:cs typeface="B Yekan" panose="00000400000000000000" pitchFamily="2" charset="-78"/>
              </a:rPr>
              <a:t>با ابزارهای انتخاب مجله</a:t>
            </a:r>
            <a:r>
              <a:rPr lang="fa-IR" sz="2400" dirty="0" smtClean="0">
                <a:solidFill>
                  <a:schemeClr val="accent5">
                    <a:lumMod val="75000"/>
                  </a:schemeClr>
                </a:solidFill>
                <a:ea typeface="宋体"/>
                <a:cs typeface="B Yekan" panose="00000400000000000000" pitchFamily="2" charset="-78"/>
              </a:rPr>
              <a:t>:</a:t>
            </a:r>
          </a:p>
          <a:p>
            <a:pPr algn="ctr" rtl="1">
              <a:defRPr/>
            </a:pPr>
            <a:r>
              <a:rPr lang="fa-IR" sz="2400" dirty="0" smtClean="0">
                <a:solidFill>
                  <a:schemeClr val="accent5">
                    <a:lumMod val="75000"/>
                  </a:schemeClr>
                </a:solidFill>
                <a:ea typeface="宋体"/>
                <a:cs typeface="B Yekan" panose="00000400000000000000" pitchFamily="2" charset="-78"/>
              </a:rPr>
              <a:t> </a:t>
            </a:r>
            <a:r>
              <a:rPr lang="en-US" sz="2400" dirty="0">
                <a:solidFill>
                  <a:schemeClr val="accent5">
                    <a:lumMod val="75000"/>
                  </a:schemeClr>
                </a:solidFill>
                <a:ea typeface="宋体"/>
                <a:cs typeface="B Yekan" panose="00000400000000000000" pitchFamily="2" charset="-78"/>
              </a:rPr>
              <a:t>Journal Author Name </a:t>
            </a:r>
            <a:endParaRPr lang="en-US" sz="2400" dirty="0" smtClean="0">
              <a:solidFill>
                <a:schemeClr val="accent5">
                  <a:lumMod val="75000"/>
                </a:schemeClr>
              </a:solidFill>
              <a:ea typeface="宋体"/>
              <a:cs typeface="B Yekan" panose="00000400000000000000" pitchFamily="2" charset="-78"/>
            </a:endParaRPr>
          </a:p>
          <a:p>
            <a:pPr algn="ctr" rtl="1">
              <a:defRPr/>
            </a:pPr>
            <a:r>
              <a:rPr lang="en-US" sz="2400" dirty="0" smtClean="0">
                <a:solidFill>
                  <a:schemeClr val="accent5">
                    <a:lumMod val="75000"/>
                  </a:schemeClr>
                </a:solidFill>
                <a:ea typeface="宋体"/>
                <a:cs typeface="B Yekan" panose="00000400000000000000" pitchFamily="2" charset="-78"/>
              </a:rPr>
              <a:t>Estimator</a:t>
            </a:r>
            <a:r>
              <a:rPr lang="en-US" sz="2400" dirty="0">
                <a:solidFill>
                  <a:schemeClr val="accent5">
                    <a:lumMod val="75000"/>
                  </a:schemeClr>
                </a:solidFill>
                <a:ea typeface="宋体"/>
                <a:cs typeface="B Yekan" panose="00000400000000000000" pitchFamily="2" charset="-78"/>
              </a:rPr>
              <a:t>, Journal Finder &amp; Journal </a:t>
            </a:r>
            <a:r>
              <a:rPr lang="en-US" sz="2400" dirty="0" err="1" smtClean="0">
                <a:solidFill>
                  <a:schemeClr val="accent5">
                    <a:lumMod val="75000"/>
                  </a:schemeClr>
                </a:solidFill>
                <a:ea typeface="宋体"/>
                <a:cs typeface="B Yekan" panose="00000400000000000000" pitchFamily="2" charset="-78"/>
              </a:rPr>
              <a:t>Suggester</a:t>
            </a:r>
            <a:endParaRPr lang="en-US" sz="2400" dirty="0" smtClean="0">
              <a:solidFill>
                <a:schemeClr val="accent5">
                  <a:lumMod val="75000"/>
                </a:schemeClr>
              </a:solidFill>
              <a:ea typeface="宋体"/>
              <a:cs typeface="B Yekan" panose="00000400000000000000" pitchFamily="2" charset="-78"/>
            </a:endParaRPr>
          </a:p>
          <a:p>
            <a:pPr algn="ctr" rtl="1">
              <a:defRPr/>
            </a:pPr>
            <a:endParaRPr lang="fa-IR" sz="2400" dirty="0" smtClean="0">
              <a:solidFill>
                <a:schemeClr val="accent5">
                  <a:lumMod val="75000"/>
                </a:schemeClr>
              </a:solidFill>
              <a:ea typeface="宋体"/>
              <a:cs typeface="B Yekan" panose="00000400000000000000" pitchFamily="2" charset="-78"/>
            </a:endParaRPr>
          </a:p>
          <a:p>
            <a:pPr algn="ctr" rtl="1">
              <a:defRPr/>
            </a:pPr>
            <a:r>
              <a:rPr lang="fa-IR" dirty="0" smtClean="0">
                <a:solidFill>
                  <a:schemeClr val="tx1">
                    <a:lumMod val="75000"/>
                    <a:lumOff val="25000"/>
                  </a:schemeClr>
                </a:solidFill>
                <a:ea typeface="宋体"/>
                <a:cs typeface="B Yekan" panose="00000400000000000000" pitchFamily="2" charset="-78"/>
              </a:rPr>
              <a:t>معصومه ستاری</a:t>
            </a:r>
          </a:p>
          <a:p>
            <a:pPr algn="ctr" rtl="1">
              <a:defRPr/>
            </a:pPr>
            <a:r>
              <a:rPr lang="fa-IR" dirty="0" smtClean="0">
                <a:solidFill>
                  <a:schemeClr val="tx1">
                    <a:lumMod val="75000"/>
                    <a:lumOff val="25000"/>
                  </a:schemeClr>
                </a:solidFill>
                <a:ea typeface="宋体"/>
                <a:cs typeface="B Yekan" panose="00000400000000000000" pitchFamily="2" charset="-78"/>
              </a:rPr>
              <a:t>کارشناس علم سنجی و کتابخانه دانشگاه علوم پزشکی </a:t>
            </a:r>
            <a:r>
              <a:rPr lang="fa-IR" dirty="0" smtClean="0">
                <a:solidFill>
                  <a:schemeClr val="tx1">
                    <a:lumMod val="75000"/>
                    <a:lumOff val="25000"/>
                  </a:schemeClr>
                </a:solidFill>
                <a:ea typeface="宋体"/>
                <a:cs typeface="B Yekan" panose="00000400000000000000" pitchFamily="2" charset="-78"/>
              </a:rPr>
              <a:t>هوشمند</a:t>
            </a:r>
            <a:endParaRPr lang="en-US" dirty="0">
              <a:solidFill>
                <a:schemeClr val="tx1">
                  <a:lumMod val="75000"/>
                  <a:lumOff val="25000"/>
                </a:schemeClr>
              </a:solidFill>
              <a:ea typeface="宋体"/>
              <a:cs typeface="B Yekan" panose="00000400000000000000" pitchFamily="2" charset="-78"/>
            </a:endParaRPr>
          </a:p>
        </p:txBody>
      </p:sp>
      <p:pic>
        <p:nvPicPr>
          <p:cNvPr id="258" name="Picture 257"/>
          <p:cNvPicPr/>
          <p:nvPr/>
        </p:nvPicPr>
        <p:blipFill>
          <a:blip r:embed="rId2">
            <a:extLst>
              <a:ext uri="{28A0092B-C50C-407E-A947-70E740481C1C}">
                <a14:useLocalDpi xmlns:a14="http://schemas.microsoft.com/office/drawing/2010/main" val="0"/>
              </a:ext>
            </a:extLst>
          </a:blip>
          <a:srcRect/>
          <a:stretch>
            <a:fillRect/>
          </a:stretch>
        </p:blipFill>
        <p:spPr bwMode="auto">
          <a:xfrm rot="1392254">
            <a:off x="8036267" y="3703197"/>
            <a:ext cx="2528479" cy="9496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9" name="Picture 258"/>
          <p:cNvPicPr/>
          <p:nvPr/>
        </p:nvPicPr>
        <p:blipFill>
          <a:blip r:embed="rId3"/>
          <a:stretch>
            <a:fillRect/>
          </a:stretch>
        </p:blipFill>
        <p:spPr>
          <a:xfrm>
            <a:off x="7951447" y="5112573"/>
            <a:ext cx="3686175" cy="87630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60" name="Picture 259"/>
          <p:cNvPicPr/>
          <p:nvPr/>
        </p:nvPicPr>
        <p:blipFill>
          <a:blip r:embed="rId4"/>
          <a:stretch>
            <a:fillRect/>
          </a:stretch>
        </p:blipFill>
        <p:spPr>
          <a:xfrm rot="876790">
            <a:off x="690054" y="5477249"/>
            <a:ext cx="2991519" cy="784692"/>
          </a:xfrm>
          <a:prstGeom prst="rect">
            <a:avLst/>
          </a:prstGeom>
          <a:ln>
            <a:noFill/>
          </a:ln>
          <a:effectLst>
            <a:outerShdw blurRad="292100" dist="139700" dir="2700000" algn="tl" rotWithShape="0">
              <a:srgbClr val="333333">
                <a:alpha val="65000"/>
              </a:srgbClr>
            </a:outerShdw>
          </a:effectLst>
        </p:spPr>
      </p:pic>
      <p:pic>
        <p:nvPicPr>
          <p:cNvPr id="261" name="Picture 260"/>
          <p:cNvPicPr/>
          <p:nvPr/>
        </p:nvPicPr>
        <p:blipFill>
          <a:blip r:embed="rId5"/>
          <a:stretch>
            <a:fillRect/>
          </a:stretch>
        </p:blipFill>
        <p:spPr>
          <a:xfrm>
            <a:off x="9614870" y="2968293"/>
            <a:ext cx="1751965" cy="475615"/>
          </a:xfrm>
          <a:prstGeom prst="rect">
            <a:avLst/>
          </a:prstGeom>
          <a:ln>
            <a:noFill/>
          </a:ln>
          <a:effectLst>
            <a:outerShdw blurRad="190500" algn="tl" rotWithShape="0">
              <a:srgbClr val="000000">
                <a:alpha val="70000"/>
              </a:srgbClr>
            </a:outerShdw>
          </a:effectLst>
        </p:spPr>
      </p:pic>
      <p:pic>
        <p:nvPicPr>
          <p:cNvPr id="267" name="Picture 266"/>
          <p:cNvPicPr/>
          <p:nvPr/>
        </p:nvPicPr>
        <p:blipFill>
          <a:blip r:embed="rId6"/>
          <a:stretch>
            <a:fillRect/>
          </a:stretch>
        </p:blipFill>
        <p:spPr>
          <a:xfrm rot="21211708">
            <a:off x="1287764" y="4305561"/>
            <a:ext cx="2305050" cy="743585"/>
          </a:xfrm>
          <a:prstGeom prst="rect">
            <a:avLst/>
          </a:prstGeom>
          <a:ln>
            <a:noFill/>
          </a:ln>
          <a:effectLst>
            <a:outerShdw blurRad="190500" algn="tl" rotWithShape="0">
              <a:srgbClr val="000000">
                <a:alpha val="70000"/>
              </a:srgbClr>
            </a:outerShdw>
          </a:effectLst>
        </p:spPr>
      </p:pic>
      <p:pic>
        <p:nvPicPr>
          <p:cNvPr id="212" name="Picture 211"/>
          <p:cNvPicPr/>
          <p:nvPr/>
        </p:nvPicPr>
        <p:blipFill>
          <a:blip r:embed="rId7"/>
          <a:stretch>
            <a:fillRect/>
          </a:stretch>
        </p:blipFill>
        <p:spPr>
          <a:xfrm>
            <a:off x="740933" y="3129684"/>
            <a:ext cx="2991240" cy="832171"/>
          </a:xfrm>
          <a:prstGeom prst="rect">
            <a:avLst/>
          </a:prstGeom>
          <a:ln>
            <a:noFill/>
          </a:ln>
          <a:effectLst>
            <a:outerShdw blurRad="292100" dist="139700" dir="2700000" algn="tl" rotWithShape="0">
              <a:srgbClr val="333333">
                <a:alpha val="65000"/>
              </a:srgbClr>
            </a:outerShdw>
          </a:effectLst>
        </p:spPr>
      </p:pic>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14869" y="310167"/>
            <a:ext cx="2251557" cy="1847710"/>
          </a:xfrm>
          <a:prstGeom prst="rect">
            <a:avLst/>
          </a:prstGeom>
        </p:spPr>
      </p:pic>
    </p:spTree>
    <p:extLst>
      <p:ext uri="{BB962C8B-B14F-4D97-AF65-F5344CB8AC3E}">
        <p14:creationId xmlns:p14="http://schemas.microsoft.com/office/powerpoint/2010/main" val="2417529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6"/>
                                        </p:tgtEl>
                                        <p:attrNameLst>
                                          <p:attrName>style.visibility</p:attrName>
                                        </p:attrNameLst>
                                      </p:cBhvr>
                                      <p:to>
                                        <p:strVal val="visible"/>
                                      </p:to>
                                    </p:set>
                                    <p:animEffect transition="in" filter="fade">
                                      <p:cBhvr>
                                        <p:cTn id="7" dur="5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93000">
              <a:schemeClr val="accent1">
                <a:lumMod val="40000"/>
                <a:lumOff val="60000"/>
              </a:schemeClr>
            </a:gs>
            <a:gs pos="21000">
              <a:schemeClr val="bg1">
                <a:lumMod val="95000"/>
              </a:schemeClr>
            </a:gs>
            <a:gs pos="55000">
              <a:srgbClr val="D1FFA7"/>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29" name="Rectangle 1"/>
          <p:cNvSpPr txBox="1">
            <a:spLocks/>
          </p:cNvSpPr>
          <p:nvPr/>
        </p:nvSpPr>
        <p:spPr>
          <a:xfrm>
            <a:off x="2123905" y="543046"/>
            <a:ext cx="8229600" cy="1295400"/>
          </a:xfrm>
          <a:prstGeom prst="rect">
            <a:avLst/>
          </a:prstGeom>
        </p:spPr>
        <p:txBody>
          <a:bodyPr vert="horz" anchor="ctr">
            <a:noAutofit/>
          </a:bodyPr>
          <a:lstStyle>
            <a:lvl1pPr algn="l" rtl="1" eaLnBrk="0" fontAlgn="base" hangingPunct="0">
              <a:spcBef>
                <a:spcPct val="0"/>
              </a:spcBef>
              <a:spcAft>
                <a:spcPct val="0"/>
              </a:spcAft>
              <a:defRPr sz="4000" kern="1200" spc="-150">
                <a:solidFill>
                  <a:srgbClr val="136395"/>
                </a:solidFill>
                <a:effectLst>
                  <a:outerShdw blurRad="50800" dist="50800" dir="2700000" algn="tl" rotWithShape="0">
                    <a:srgbClr val="000000">
                      <a:alpha val="43137"/>
                    </a:srgbClr>
                  </a:outerShdw>
                </a:effectLst>
                <a:latin typeface="+mj-lt"/>
                <a:ea typeface="+mj-ea"/>
                <a:cs typeface="+mj-cs"/>
              </a:defRPr>
            </a:lvl1pPr>
            <a:lvl2pPr algn="l" rtl="1" eaLnBrk="0" fontAlgn="base" hangingPunct="0">
              <a:spcBef>
                <a:spcPct val="0"/>
              </a:spcBef>
              <a:spcAft>
                <a:spcPct val="0"/>
              </a:spcAft>
              <a:defRPr sz="4000">
                <a:solidFill>
                  <a:srgbClr val="136395"/>
                </a:solidFill>
                <a:latin typeface="Corbel" panose="020B0503020204020204" pitchFamily="34" charset="0"/>
              </a:defRPr>
            </a:lvl2pPr>
            <a:lvl3pPr algn="l" rtl="1" eaLnBrk="0" fontAlgn="base" hangingPunct="0">
              <a:spcBef>
                <a:spcPct val="0"/>
              </a:spcBef>
              <a:spcAft>
                <a:spcPct val="0"/>
              </a:spcAft>
              <a:defRPr sz="4000">
                <a:solidFill>
                  <a:srgbClr val="136395"/>
                </a:solidFill>
                <a:latin typeface="Corbel" panose="020B0503020204020204" pitchFamily="34" charset="0"/>
              </a:defRPr>
            </a:lvl3pPr>
            <a:lvl4pPr algn="l" rtl="1" eaLnBrk="0" fontAlgn="base" hangingPunct="0">
              <a:spcBef>
                <a:spcPct val="0"/>
              </a:spcBef>
              <a:spcAft>
                <a:spcPct val="0"/>
              </a:spcAft>
              <a:defRPr sz="4000">
                <a:solidFill>
                  <a:srgbClr val="136395"/>
                </a:solidFill>
                <a:latin typeface="Corbel" panose="020B0503020204020204" pitchFamily="34" charset="0"/>
              </a:defRPr>
            </a:lvl4pPr>
            <a:lvl5pPr algn="l" rtl="1" eaLnBrk="0" fontAlgn="base" hangingPunct="0">
              <a:spcBef>
                <a:spcPct val="0"/>
              </a:spcBef>
              <a:spcAft>
                <a:spcPct val="0"/>
              </a:spcAft>
              <a:defRPr sz="4000">
                <a:solidFill>
                  <a:srgbClr val="136395"/>
                </a:solidFill>
                <a:latin typeface="Corbel" panose="020B0503020204020204" pitchFamily="34" charset="0"/>
              </a:defRPr>
            </a:lvl5pPr>
            <a:lvl6pPr marL="457200" algn="l" rtl="1" fontAlgn="base">
              <a:spcBef>
                <a:spcPct val="0"/>
              </a:spcBef>
              <a:spcAft>
                <a:spcPct val="0"/>
              </a:spcAft>
              <a:defRPr sz="4000">
                <a:solidFill>
                  <a:srgbClr val="136395"/>
                </a:solidFill>
                <a:latin typeface="Corbel" panose="020B0503020204020204" pitchFamily="34" charset="0"/>
              </a:defRPr>
            </a:lvl6pPr>
            <a:lvl7pPr marL="914400" algn="l" rtl="1" fontAlgn="base">
              <a:spcBef>
                <a:spcPct val="0"/>
              </a:spcBef>
              <a:spcAft>
                <a:spcPct val="0"/>
              </a:spcAft>
              <a:defRPr sz="4000">
                <a:solidFill>
                  <a:srgbClr val="136395"/>
                </a:solidFill>
                <a:latin typeface="Corbel" panose="020B0503020204020204" pitchFamily="34" charset="0"/>
              </a:defRPr>
            </a:lvl7pPr>
            <a:lvl8pPr marL="1371600" algn="l" rtl="1" fontAlgn="base">
              <a:spcBef>
                <a:spcPct val="0"/>
              </a:spcBef>
              <a:spcAft>
                <a:spcPct val="0"/>
              </a:spcAft>
              <a:defRPr sz="4000">
                <a:solidFill>
                  <a:srgbClr val="136395"/>
                </a:solidFill>
                <a:latin typeface="Corbel" panose="020B0503020204020204" pitchFamily="34" charset="0"/>
              </a:defRPr>
            </a:lvl8pPr>
            <a:lvl9pPr marL="1828800" algn="l" rtl="1" fontAlgn="base">
              <a:spcBef>
                <a:spcPct val="0"/>
              </a:spcBef>
              <a:spcAft>
                <a:spcPct val="0"/>
              </a:spcAft>
              <a:defRPr sz="4000">
                <a:solidFill>
                  <a:srgbClr val="136395"/>
                </a:solidFill>
                <a:latin typeface="Corbel" panose="020B0503020204020204" pitchFamily="34" charset="0"/>
              </a:defRPr>
            </a:lvl9pPr>
            <a:extLst/>
          </a:lstStyle>
          <a:p>
            <a:pPr lvl="0" algn="r" eaLnBrk="1" fontAlgn="auto" hangingPunct="1">
              <a:lnSpc>
                <a:spcPct val="70000"/>
              </a:lnSpc>
              <a:spcAft>
                <a:spcPts val="0"/>
              </a:spcAft>
              <a:defRPr/>
            </a:pPr>
            <a:r>
              <a:rPr lang="fa-IR" sz="4800" dirty="0">
                <a:solidFill>
                  <a:schemeClr val="accent5">
                    <a:lumMod val="75000"/>
                  </a:schemeClr>
                </a:solidFill>
                <a:latin typeface="Corbel"/>
                <a:cs typeface="B Nazanin" panose="00000400000000000000" pitchFamily="2" charset="-78"/>
              </a:rPr>
              <a:t>اهمیت انتخاب مجله مناسب برای چاپ مقاله</a:t>
            </a:r>
            <a:endParaRPr kumimoji="0" lang="en-US" sz="4800" b="0" i="0" u="none" strike="noStrike" kern="1200" cap="none" spc="-150" normalizeH="0" baseline="0" noProof="0" dirty="0">
              <a:ln>
                <a:noFill/>
              </a:ln>
              <a:solidFill>
                <a:schemeClr val="accent5">
                  <a:lumMod val="75000"/>
                </a:schemeClr>
              </a:solidFill>
              <a:effectLst>
                <a:outerShdw blurRad="50800" dist="50800" dir="2700000" algn="tl" rotWithShape="0">
                  <a:srgbClr val="000000">
                    <a:alpha val="43137"/>
                  </a:srgbClr>
                </a:outerShdw>
              </a:effectLst>
              <a:uLnTx/>
              <a:uFillTx/>
              <a:latin typeface="Corbel"/>
              <a:cs typeface="B Nazanin" panose="00000400000000000000" pitchFamily="2" charset="-78"/>
            </a:endParaRPr>
          </a:p>
        </p:txBody>
      </p:sp>
      <p:sp>
        <p:nvSpPr>
          <p:cNvPr id="35" name="TextBox 34">
            <a:extLst>
              <a:ext uri="{FF2B5EF4-FFF2-40B4-BE49-F238E27FC236}">
                <a16:creationId xmlns:a16="http://schemas.microsoft.com/office/drawing/2014/main" xmlns="" id="{F144EE36-71BD-4CAC-8006-DCFCC3B476BA}"/>
              </a:ext>
            </a:extLst>
          </p:cNvPr>
          <p:cNvSpPr txBox="1"/>
          <p:nvPr/>
        </p:nvSpPr>
        <p:spPr>
          <a:xfrm>
            <a:off x="925974" y="2457628"/>
            <a:ext cx="10416439" cy="1015663"/>
          </a:xfrm>
          <a:prstGeom prst="rect">
            <a:avLst/>
          </a:prstGeom>
          <a:noFill/>
        </p:spPr>
        <p:txBody>
          <a:bodyPr wrap="square" rtlCol="0">
            <a:spAutoFit/>
          </a:bodyPr>
          <a:lstStyle/>
          <a:p>
            <a:pPr algn="just" rtl="1">
              <a:defRPr/>
            </a:pPr>
            <a:r>
              <a:rPr lang="fa-IR" sz="2000" dirty="0">
                <a:cs typeface="B Yekan" panose="00000400000000000000" pitchFamily="2" charset="-78"/>
              </a:rPr>
              <a:t>انتشار مقاله یکی از راه های ارتقا پژوهشگران و اعضای هیات علمی است و به همان میزان که نگارش یک مقاله دشوار است، انتخاب مجله مناسب جهت چاپ آن نیز سخت بوده و از اهمیت برخوردار است. باید توجه داشت تلاش‌های فراوانی در پس نگارش مقاله‌ای علمی هست و این تلاش‌ها با انتشار مقاله مشاهده می‌شود.</a:t>
            </a:r>
            <a:endParaRPr lang="fa-IR" sz="2000" dirty="0">
              <a:cs typeface="B Yekan" panose="00000400000000000000" pitchFamily="2" charset="-78"/>
            </a:endParaRPr>
          </a:p>
        </p:txBody>
      </p:sp>
      <p:sp>
        <p:nvSpPr>
          <p:cNvPr id="5" name="Rectangle 4"/>
          <p:cNvSpPr/>
          <p:nvPr/>
        </p:nvSpPr>
        <p:spPr>
          <a:xfrm>
            <a:off x="11476844" y="2301725"/>
            <a:ext cx="68727" cy="1246094"/>
          </a:xfrm>
          <a:prstGeom prst="rect">
            <a:avLst/>
          </a:prstGeom>
          <a:solidFill>
            <a:srgbClr val="CF1D56"/>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5"/>
          <p:cNvSpPr/>
          <p:nvPr/>
        </p:nvSpPr>
        <p:spPr>
          <a:xfrm>
            <a:off x="11478499" y="4137777"/>
            <a:ext cx="67072" cy="1064445"/>
          </a:xfrm>
          <a:prstGeom prst="rect">
            <a:avLst/>
          </a:prstGeom>
          <a:solidFill>
            <a:srgbClr val="00B050"/>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xmlns="" id="{F144EE36-71BD-4CAC-8006-DCFCC3B476BA}"/>
              </a:ext>
            </a:extLst>
          </p:cNvPr>
          <p:cNvSpPr txBox="1"/>
          <p:nvPr/>
        </p:nvSpPr>
        <p:spPr>
          <a:xfrm>
            <a:off x="925973" y="4281331"/>
            <a:ext cx="10416439" cy="707886"/>
          </a:xfrm>
          <a:prstGeom prst="rect">
            <a:avLst/>
          </a:prstGeom>
          <a:noFill/>
        </p:spPr>
        <p:txBody>
          <a:bodyPr wrap="square" rtlCol="0">
            <a:spAutoFit/>
          </a:bodyPr>
          <a:lstStyle/>
          <a:p>
            <a:pPr algn="just" rtl="1">
              <a:defRPr/>
            </a:pPr>
            <a:r>
              <a:rPr lang="fa-IR" sz="2000" dirty="0">
                <a:cs typeface="B Yekan" panose="00000400000000000000" pitchFamily="2" charset="-78"/>
              </a:rPr>
              <a:t> شما باید موارد و معیارهای درست و مختلفی را برای انتخاب مجله در نظر بگیرید، تا از رد شدن مقاله تان مانع شوید وآنرا در مجله ای منتشر کنید که ارزش آنرا بالا برده، مقاله تان دیده شود و مورد استناد قرار گیرد. </a:t>
            </a:r>
            <a:endParaRPr lang="fa-IR" sz="2000" dirty="0">
              <a:cs typeface="B Yekan" panose="00000400000000000000" pitchFamily="2" charset="-78"/>
            </a:endParaRPr>
          </a:p>
        </p:txBody>
      </p:sp>
    </p:spTree>
    <p:extLst>
      <p:ext uri="{BB962C8B-B14F-4D97-AF65-F5344CB8AC3E}">
        <p14:creationId xmlns:p14="http://schemas.microsoft.com/office/powerpoint/2010/main" val="3133339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93000">
              <a:schemeClr val="accent1">
                <a:lumMod val="40000"/>
                <a:lumOff val="60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xmlns="" id="{F144EE36-71BD-4CAC-8006-DCFCC3B476BA}"/>
              </a:ext>
            </a:extLst>
          </p:cNvPr>
          <p:cNvSpPr txBox="1"/>
          <p:nvPr/>
        </p:nvSpPr>
        <p:spPr>
          <a:xfrm>
            <a:off x="1292161" y="130"/>
            <a:ext cx="9258299" cy="584775"/>
          </a:xfrm>
          <a:prstGeom prst="rect">
            <a:avLst/>
          </a:prstGeom>
          <a:noFill/>
        </p:spPr>
        <p:txBody>
          <a:bodyPr wrap="square" rtlCol="0">
            <a:spAutoFit/>
          </a:bodyPr>
          <a:lstStyle/>
          <a:p>
            <a:pPr algn="just" rtl="1">
              <a:defRPr/>
            </a:pPr>
            <a:r>
              <a:rPr lang="fa-IR" sz="3200" spc="-150" dirty="0" smtClean="0">
                <a:solidFill>
                  <a:schemeClr val="accent5">
                    <a:lumMod val="75000"/>
                  </a:schemeClr>
                </a:solidFill>
                <a:effectLst>
                  <a:outerShdw blurRad="50800" dist="50800" dir="2700000" algn="tl" rotWithShape="0">
                    <a:srgbClr val="000000">
                      <a:alpha val="43137"/>
                    </a:srgbClr>
                  </a:outerShdw>
                </a:effectLst>
                <a:latin typeface="Corbel"/>
                <a:ea typeface="+mj-ea"/>
                <a:cs typeface="B Nazanin" panose="00000400000000000000" pitchFamily="2" charset="-78"/>
              </a:rPr>
              <a:t>در انتخاب مجله علمی مناسب برای چاپ مقاله چه فاکتورهایی را باید در نظر گرفت؟</a:t>
            </a:r>
            <a:endParaRPr lang="fa-IR" sz="3200" spc="-150" dirty="0" smtClean="0">
              <a:solidFill>
                <a:schemeClr val="accent5">
                  <a:lumMod val="75000"/>
                </a:schemeClr>
              </a:solidFill>
              <a:effectLst>
                <a:outerShdw blurRad="50800" dist="50800" dir="2700000" algn="tl" rotWithShape="0">
                  <a:srgbClr val="000000">
                    <a:alpha val="43137"/>
                  </a:srgbClr>
                </a:outerShdw>
              </a:effectLst>
              <a:latin typeface="Corbel"/>
              <a:ea typeface="+mj-ea"/>
              <a:cs typeface="B Nazanin" panose="00000400000000000000" pitchFamily="2" charset="-78"/>
            </a:endParaRPr>
          </a:p>
        </p:txBody>
      </p:sp>
      <p:sp>
        <p:nvSpPr>
          <p:cNvPr id="8" name="Diamond 7">
            <a:extLst>
              <a:ext uri="{FF2B5EF4-FFF2-40B4-BE49-F238E27FC236}">
                <a16:creationId xmlns:a16="http://schemas.microsoft.com/office/drawing/2014/main" xmlns="" id="{113BEDA8-E02E-4C77-B81F-F5F5618C1D56}"/>
              </a:ext>
            </a:extLst>
          </p:cNvPr>
          <p:cNvSpPr/>
          <p:nvPr/>
        </p:nvSpPr>
        <p:spPr>
          <a:xfrm>
            <a:off x="10338167" y="515449"/>
            <a:ext cx="655208" cy="655208"/>
          </a:xfrm>
          <a:prstGeom prst="diamond">
            <a:avLst/>
          </a:prstGeom>
          <a:solidFill>
            <a:srgbClr val="C79C2F"/>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1</a:t>
            </a:r>
          </a:p>
        </p:txBody>
      </p:sp>
      <p:sp>
        <p:nvSpPr>
          <p:cNvPr id="9" name="Diamond 8">
            <a:extLst>
              <a:ext uri="{FF2B5EF4-FFF2-40B4-BE49-F238E27FC236}">
                <a16:creationId xmlns:a16="http://schemas.microsoft.com/office/drawing/2014/main" xmlns="" id="{D1B97FE5-8134-4551-A603-6956B3FAAF4F}"/>
              </a:ext>
            </a:extLst>
          </p:cNvPr>
          <p:cNvSpPr/>
          <p:nvPr/>
        </p:nvSpPr>
        <p:spPr>
          <a:xfrm>
            <a:off x="10338167" y="1936985"/>
            <a:ext cx="655208" cy="655208"/>
          </a:xfrm>
          <a:prstGeom prst="diamond">
            <a:avLst/>
          </a:prstGeom>
          <a:solidFill>
            <a:srgbClr val="9C319F"/>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3</a:t>
            </a:r>
            <a:endPar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Diamond 9">
            <a:extLst>
              <a:ext uri="{FF2B5EF4-FFF2-40B4-BE49-F238E27FC236}">
                <a16:creationId xmlns:a16="http://schemas.microsoft.com/office/drawing/2014/main" xmlns="" id="{7AFE004F-1739-4DFB-94E4-AB23F374053D}"/>
              </a:ext>
            </a:extLst>
          </p:cNvPr>
          <p:cNvSpPr/>
          <p:nvPr/>
        </p:nvSpPr>
        <p:spPr>
          <a:xfrm>
            <a:off x="10338167" y="3338849"/>
            <a:ext cx="655208" cy="655208"/>
          </a:xfrm>
          <a:prstGeom prst="diamond">
            <a:avLst/>
          </a:prstGeom>
          <a:solidFill>
            <a:srgbClr val="00BC82"/>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5</a:t>
            </a:r>
            <a:endPar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Diamond 10">
            <a:extLst>
              <a:ext uri="{FF2B5EF4-FFF2-40B4-BE49-F238E27FC236}">
                <a16:creationId xmlns:a16="http://schemas.microsoft.com/office/drawing/2014/main" xmlns="" id="{68AF1015-1E1F-47C5-ACC5-0337A1C94718}"/>
              </a:ext>
            </a:extLst>
          </p:cNvPr>
          <p:cNvSpPr/>
          <p:nvPr/>
        </p:nvSpPr>
        <p:spPr>
          <a:xfrm>
            <a:off x="10338167" y="4749489"/>
            <a:ext cx="655208" cy="655208"/>
          </a:xfrm>
          <a:prstGeom prst="diamond">
            <a:avLst/>
          </a:prstGeom>
          <a:solidFill>
            <a:srgbClr val="5D92BB"/>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7</a:t>
            </a:r>
            <a:endPar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xmlns="" id="{F03EF9C9-A571-4C6A-B941-10D24D2FF222}"/>
              </a:ext>
            </a:extLst>
          </p:cNvPr>
          <p:cNvSpPr txBox="1"/>
          <p:nvPr/>
        </p:nvSpPr>
        <p:spPr>
          <a:xfrm>
            <a:off x="914401" y="585683"/>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شناسایی </a:t>
            </a:r>
            <a:r>
              <a:rPr lang="fa-IR" sz="2400" dirty="0">
                <a:cs typeface="B Yekan" panose="00000400000000000000" pitchFamily="2" charset="-78"/>
              </a:rPr>
              <a:t>مجلات </a:t>
            </a:r>
            <a:r>
              <a:rPr lang="fa-IR" sz="2400" dirty="0" smtClean="0">
                <a:cs typeface="B Yekan" panose="00000400000000000000" pitchFamily="2" charset="-78"/>
              </a:rPr>
              <a:t>هدف</a:t>
            </a:r>
            <a:endParaRPr lang="fa-IR" sz="2400" dirty="0" smtClean="0">
              <a:cs typeface="B Yekan" panose="00000400000000000000" pitchFamily="2" charset="-78"/>
            </a:endParaRPr>
          </a:p>
        </p:txBody>
      </p:sp>
      <p:sp>
        <p:nvSpPr>
          <p:cNvPr id="20" name="TextBox 19">
            <a:extLst>
              <a:ext uri="{FF2B5EF4-FFF2-40B4-BE49-F238E27FC236}">
                <a16:creationId xmlns:a16="http://schemas.microsoft.com/office/drawing/2014/main" xmlns="" id="{F03EF9C9-A571-4C6A-B941-10D24D2FF222}"/>
              </a:ext>
            </a:extLst>
          </p:cNvPr>
          <p:cNvSpPr txBox="1"/>
          <p:nvPr/>
        </p:nvSpPr>
        <p:spPr>
          <a:xfrm>
            <a:off x="914401" y="2016784"/>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مطالعه </a:t>
            </a:r>
            <a:r>
              <a:rPr lang="fa-IR" sz="2400" dirty="0">
                <a:cs typeface="B Yekan" panose="00000400000000000000" pitchFamily="2" charset="-78"/>
              </a:rPr>
              <a:t>مقالات اخیر مجله </a:t>
            </a:r>
            <a:endParaRPr lang="fa-IR" sz="2400" dirty="0" smtClean="0">
              <a:cs typeface="B Yekan" panose="00000400000000000000" pitchFamily="2" charset="-78"/>
            </a:endParaRPr>
          </a:p>
        </p:txBody>
      </p:sp>
      <p:sp>
        <p:nvSpPr>
          <p:cNvPr id="21" name="TextBox 20">
            <a:extLst>
              <a:ext uri="{FF2B5EF4-FFF2-40B4-BE49-F238E27FC236}">
                <a16:creationId xmlns:a16="http://schemas.microsoft.com/office/drawing/2014/main" xmlns="" id="{F03EF9C9-A571-4C6A-B941-10D24D2FF222}"/>
              </a:ext>
            </a:extLst>
          </p:cNvPr>
          <p:cNvSpPr txBox="1"/>
          <p:nvPr/>
        </p:nvSpPr>
        <p:spPr>
          <a:xfrm>
            <a:off x="914401" y="3344438"/>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دقت </a:t>
            </a:r>
            <a:r>
              <a:rPr lang="fa-IR" sz="2400" dirty="0">
                <a:cs typeface="B Yekan" panose="00000400000000000000" pitchFamily="2" charset="-78"/>
              </a:rPr>
              <a:t>در ملیت نویسندگانی که مقالات آنها در مجله چاپ شده است</a:t>
            </a:r>
            <a:endParaRPr lang="fa-IR" sz="2400" dirty="0">
              <a:solidFill>
                <a:schemeClr val="accent1">
                  <a:lumMod val="50000"/>
                </a:schemeClr>
              </a:solidFill>
              <a:cs typeface="B Yekan" panose="00000400000000000000" pitchFamily="2" charset="-78"/>
            </a:endParaRPr>
          </a:p>
        </p:txBody>
      </p:sp>
      <p:sp>
        <p:nvSpPr>
          <p:cNvPr id="22" name="TextBox 21">
            <a:extLst>
              <a:ext uri="{FF2B5EF4-FFF2-40B4-BE49-F238E27FC236}">
                <a16:creationId xmlns:a16="http://schemas.microsoft.com/office/drawing/2014/main" xmlns="" id="{F03EF9C9-A571-4C6A-B941-10D24D2FF222}"/>
              </a:ext>
            </a:extLst>
          </p:cNvPr>
          <p:cNvSpPr txBox="1"/>
          <p:nvPr/>
        </p:nvSpPr>
        <p:spPr>
          <a:xfrm>
            <a:off x="914401" y="4843214"/>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اطمینان </a:t>
            </a:r>
            <a:r>
              <a:rPr lang="fa-IR" sz="2400" dirty="0">
                <a:cs typeface="B Yekan" panose="00000400000000000000" pitchFamily="2" charset="-78"/>
              </a:rPr>
              <a:t>از جعلی نبودن مجله</a:t>
            </a:r>
            <a:endParaRPr lang="fa-IR" sz="2400" dirty="0" smtClean="0">
              <a:cs typeface="B Yekan" panose="00000400000000000000" pitchFamily="2" charset="-78"/>
            </a:endParaRPr>
          </a:p>
        </p:txBody>
      </p:sp>
      <p:sp>
        <p:nvSpPr>
          <p:cNvPr id="12" name="Diamond 11">
            <a:extLst>
              <a:ext uri="{FF2B5EF4-FFF2-40B4-BE49-F238E27FC236}">
                <a16:creationId xmlns:a16="http://schemas.microsoft.com/office/drawing/2014/main" xmlns="" id="{113BEDA8-E02E-4C77-B81F-F5F5618C1D56}"/>
              </a:ext>
            </a:extLst>
          </p:cNvPr>
          <p:cNvSpPr/>
          <p:nvPr/>
        </p:nvSpPr>
        <p:spPr>
          <a:xfrm>
            <a:off x="10338167" y="1234186"/>
            <a:ext cx="655208" cy="655208"/>
          </a:xfrm>
          <a:prstGeom prst="diamond">
            <a:avLst/>
          </a:prstGeom>
          <a:solidFill>
            <a:schemeClr val="accent1">
              <a:lumMod val="75000"/>
            </a:schemeClr>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a:t>
            </a:r>
            <a:endPar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Diamond 13">
            <a:extLst>
              <a:ext uri="{FF2B5EF4-FFF2-40B4-BE49-F238E27FC236}">
                <a16:creationId xmlns:a16="http://schemas.microsoft.com/office/drawing/2014/main" xmlns="" id="{D1B97FE5-8134-4551-A603-6956B3FAAF4F}"/>
              </a:ext>
            </a:extLst>
          </p:cNvPr>
          <p:cNvSpPr/>
          <p:nvPr/>
        </p:nvSpPr>
        <p:spPr>
          <a:xfrm>
            <a:off x="10335592" y="2636418"/>
            <a:ext cx="655208" cy="655208"/>
          </a:xfrm>
          <a:prstGeom prst="diamond">
            <a:avLst/>
          </a:prstGeom>
          <a:solidFill>
            <a:srgbClr val="002060"/>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4</a:t>
            </a:r>
            <a:endPar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Diamond 14">
            <a:extLst>
              <a:ext uri="{FF2B5EF4-FFF2-40B4-BE49-F238E27FC236}">
                <a16:creationId xmlns:a16="http://schemas.microsoft.com/office/drawing/2014/main" xmlns="" id="{7AFE004F-1739-4DFB-94E4-AB23F374053D}"/>
              </a:ext>
            </a:extLst>
          </p:cNvPr>
          <p:cNvSpPr/>
          <p:nvPr/>
        </p:nvSpPr>
        <p:spPr>
          <a:xfrm>
            <a:off x="10335592" y="4051932"/>
            <a:ext cx="655208" cy="655208"/>
          </a:xfrm>
          <a:prstGeom prst="diamond">
            <a:avLst/>
          </a:prstGeom>
          <a:solidFill>
            <a:srgbClr val="FF6699"/>
          </a:solidFill>
          <a:ln w="25400" cap="flat" cmpd="sng" algn="ctr">
            <a:noFill/>
            <a:prstDash val="solid"/>
          </a:ln>
          <a:effectLst/>
        </p:spPr>
        <p:txBody>
          <a:bodyPr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2000" b="0" i="0" u="none" strike="noStrike" kern="0" cap="none" spc="0" normalizeH="0" baseline="0" noProof="0" dirty="0" smtClean="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6</a:t>
            </a:r>
            <a:endParaRPr kumimoji="0" lang="en-IN" sz="20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xmlns="" id="{F03EF9C9-A571-4C6A-B941-10D24D2FF222}"/>
              </a:ext>
            </a:extLst>
          </p:cNvPr>
          <p:cNvSpPr txBox="1"/>
          <p:nvPr/>
        </p:nvSpPr>
        <p:spPr>
          <a:xfrm>
            <a:off x="904751" y="1305258"/>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مطالعه </a:t>
            </a:r>
            <a:r>
              <a:rPr lang="fa-IR" sz="2400" dirty="0">
                <a:cs typeface="B Yekan" panose="00000400000000000000" pitchFamily="2" charset="-78"/>
              </a:rPr>
              <a:t>اهداف و حوزه های علمی تحت پوشش مجله </a:t>
            </a:r>
            <a:endParaRPr lang="fa-IR" sz="2400" dirty="0" smtClean="0">
              <a:cs typeface="B Yekan" panose="00000400000000000000" pitchFamily="2" charset="-78"/>
            </a:endParaRPr>
          </a:p>
        </p:txBody>
      </p:sp>
      <p:sp>
        <p:nvSpPr>
          <p:cNvPr id="17" name="TextBox 16">
            <a:extLst>
              <a:ext uri="{FF2B5EF4-FFF2-40B4-BE49-F238E27FC236}">
                <a16:creationId xmlns:a16="http://schemas.microsoft.com/office/drawing/2014/main" xmlns="" id="{F03EF9C9-A571-4C6A-B941-10D24D2FF222}"/>
              </a:ext>
            </a:extLst>
          </p:cNvPr>
          <p:cNvSpPr txBox="1"/>
          <p:nvPr/>
        </p:nvSpPr>
        <p:spPr>
          <a:xfrm>
            <a:off x="914401" y="2707943"/>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مکاتبه </a:t>
            </a:r>
            <a:r>
              <a:rPr lang="fa-IR" sz="2400" dirty="0">
                <a:cs typeface="B Yekan" panose="00000400000000000000" pitchFamily="2" charset="-78"/>
              </a:rPr>
              <a:t>با سردبیر مجله قبل از سابمیت آن </a:t>
            </a:r>
            <a:endParaRPr lang="fa-IR" sz="2400" dirty="0" smtClean="0">
              <a:cs typeface="B Yekan" panose="00000400000000000000" pitchFamily="2" charset="-78"/>
            </a:endParaRPr>
          </a:p>
        </p:txBody>
      </p:sp>
      <p:sp>
        <p:nvSpPr>
          <p:cNvPr id="18" name="TextBox 17">
            <a:extLst>
              <a:ext uri="{FF2B5EF4-FFF2-40B4-BE49-F238E27FC236}">
                <a16:creationId xmlns:a16="http://schemas.microsoft.com/office/drawing/2014/main" xmlns="" id="{F03EF9C9-A571-4C6A-B941-10D24D2FF222}"/>
              </a:ext>
            </a:extLst>
          </p:cNvPr>
          <p:cNvSpPr txBox="1"/>
          <p:nvPr/>
        </p:nvSpPr>
        <p:spPr>
          <a:xfrm>
            <a:off x="914401" y="4114646"/>
            <a:ext cx="9252696" cy="461665"/>
          </a:xfrm>
          <a:prstGeom prst="rect">
            <a:avLst/>
          </a:prstGeom>
          <a:noFill/>
        </p:spPr>
        <p:txBody>
          <a:bodyPr wrap="square" rtlCol="0">
            <a:spAutoFit/>
          </a:bodyPr>
          <a:lstStyle/>
          <a:p>
            <a:pPr algn="r" rtl="1">
              <a:defRPr/>
            </a:pPr>
            <a:r>
              <a:rPr lang="fa-IR" sz="2400" dirty="0" smtClean="0">
                <a:cs typeface="B Yekan" panose="00000400000000000000" pitchFamily="2" charset="-78"/>
              </a:rPr>
              <a:t>بررسی </a:t>
            </a:r>
            <a:r>
              <a:rPr lang="fa-IR" sz="2400" dirty="0">
                <a:cs typeface="B Yekan" panose="00000400000000000000" pitchFamily="2" charset="-78"/>
              </a:rPr>
              <a:t>تاریخ دریافت، بازنگری و انتشار مقالات در مجله</a:t>
            </a:r>
            <a:endParaRPr lang="fa-IR" sz="2400" dirty="0" smtClean="0">
              <a:cs typeface="B Yekan" panose="00000400000000000000" pitchFamily="2" charset="-78"/>
            </a:endParaRPr>
          </a:p>
        </p:txBody>
      </p:sp>
      <p:sp>
        <p:nvSpPr>
          <p:cNvPr id="29" name="Diamond 28">
            <a:extLst>
              <a:ext uri="{FF2B5EF4-FFF2-40B4-BE49-F238E27FC236}">
                <a16:creationId xmlns:a16="http://schemas.microsoft.com/office/drawing/2014/main" xmlns="" id="{113BEDA8-E02E-4C77-B81F-F5F5618C1D56}"/>
              </a:ext>
            </a:extLst>
          </p:cNvPr>
          <p:cNvSpPr/>
          <p:nvPr/>
        </p:nvSpPr>
        <p:spPr>
          <a:xfrm>
            <a:off x="10338167" y="5492582"/>
            <a:ext cx="655208" cy="655208"/>
          </a:xfrm>
          <a:prstGeom prst="diamond">
            <a:avLst/>
          </a:prstGeom>
          <a:solidFill>
            <a:srgbClr val="C79C2F"/>
          </a:solidFill>
          <a:ln w="25400" cap="flat" cmpd="sng" algn="ctr">
            <a:noFill/>
            <a:prstDash val="solid"/>
          </a:ln>
          <a:effectLst/>
        </p:spPr>
        <p:txBody>
          <a:bodyPr rtlCol="0" anchor="ctr"/>
          <a:lstStyle/>
          <a:p>
            <a:pPr algn="ctr" defTabSz="1218987">
              <a:defRPr/>
            </a:pPr>
            <a:r>
              <a:rPr lang="en-IN" sz="2000" kern="0" dirty="0">
                <a:solidFill>
                  <a:prstClr val="white"/>
                </a:solidFill>
                <a:latin typeface="Open Sans" panose="020B0606030504020204" pitchFamily="34" charset="0"/>
                <a:ea typeface="Open Sans" panose="020B0606030504020204" pitchFamily="34" charset="0"/>
                <a:cs typeface="Open Sans" panose="020B0606030504020204" pitchFamily="34" charset="0"/>
              </a:rPr>
              <a:t>8</a:t>
            </a:r>
          </a:p>
        </p:txBody>
      </p:sp>
      <p:sp>
        <p:nvSpPr>
          <p:cNvPr id="30" name="TextBox 29">
            <a:extLst>
              <a:ext uri="{FF2B5EF4-FFF2-40B4-BE49-F238E27FC236}">
                <a16:creationId xmlns:a16="http://schemas.microsoft.com/office/drawing/2014/main" xmlns="" id="{F03EF9C9-A571-4C6A-B941-10D24D2FF222}"/>
              </a:ext>
            </a:extLst>
          </p:cNvPr>
          <p:cNvSpPr txBox="1"/>
          <p:nvPr/>
        </p:nvSpPr>
        <p:spPr>
          <a:xfrm>
            <a:off x="914401" y="5562816"/>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اعتبار </a:t>
            </a:r>
            <a:r>
              <a:rPr lang="fa-IR" sz="2400" dirty="0">
                <a:solidFill>
                  <a:prstClr val="black"/>
                </a:solidFill>
                <a:cs typeface="B Yekan" panose="00000400000000000000" pitchFamily="2" charset="-78"/>
              </a:rPr>
              <a:t>و کیفیت مجله از منظر ناشران و نمایه نامه ها </a:t>
            </a:r>
            <a:endParaRPr lang="fa-IR" sz="2400" dirty="0" smtClean="0">
              <a:solidFill>
                <a:prstClr val="black"/>
              </a:solidFill>
              <a:cs typeface="B Yekan" panose="00000400000000000000" pitchFamily="2" charset="-78"/>
            </a:endParaRPr>
          </a:p>
        </p:txBody>
      </p:sp>
      <p:sp>
        <p:nvSpPr>
          <p:cNvPr id="31" name="Diamond 30">
            <a:extLst>
              <a:ext uri="{FF2B5EF4-FFF2-40B4-BE49-F238E27FC236}">
                <a16:creationId xmlns:a16="http://schemas.microsoft.com/office/drawing/2014/main" xmlns="" id="{113BEDA8-E02E-4C77-B81F-F5F5618C1D56}"/>
              </a:ext>
            </a:extLst>
          </p:cNvPr>
          <p:cNvSpPr/>
          <p:nvPr/>
        </p:nvSpPr>
        <p:spPr>
          <a:xfrm>
            <a:off x="10347817" y="6210352"/>
            <a:ext cx="655208" cy="655208"/>
          </a:xfrm>
          <a:prstGeom prst="diamond">
            <a:avLst/>
          </a:prstGeom>
          <a:solidFill>
            <a:schemeClr val="accent6">
              <a:lumMod val="50000"/>
            </a:schemeClr>
          </a:solidFill>
          <a:ln w="25400" cap="flat" cmpd="sng" algn="ctr">
            <a:noFill/>
            <a:prstDash val="solid"/>
          </a:ln>
          <a:effectLst/>
        </p:spPr>
        <p:txBody>
          <a:bodyPr rtlCol="0" anchor="ctr"/>
          <a:lstStyle/>
          <a:p>
            <a:pPr algn="ctr" defTabSz="1218987">
              <a:defRPr/>
            </a:pPr>
            <a:r>
              <a:rPr lang="en-IN" sz="2000"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9</a:t>
            </a:r>
            <a:endParaRPr lang="en-IN" sz="2000"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xmlns="" id="{F03EF9C9-A571-4C6A-B941-10D24D2FF222}"/>
              </a:ext>
            </a:extLst>
          </p:cNvPr>
          <p:cNvSpPr txBox="1"/>
          <p:nvPr/>
        </p:nvSpPr>
        <p:spPr>
          <a:xfrm>
            <a:off x="914401" y="6281424"/>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بررسی </a:t>
            </a:r>
            <a:r>
              <a:rPr lang="fa-IR" sz="2400" dirty="0">
                <a:solidFill>
                  <a:prstClr val="black"/>
                </a:solidFill>
                <a:cs typeface="B Yekan" panose="00000400000000000000" pitchFamily="2" charset="-78"/>
              </a:rPr>
              <a:t>تعداد شماره های یک مجله در طول سال </a:t>
            </a:r>
            <a:endParaRPr lang="fa-IR" sz="2400" dirty="0" smtClean="0">
              <a:solidFill>
                <a:prstClr val="black"/>
              </a:solidFill>
              <a:cs typeface="B Yekan" panose="00000400000000000000" pitchFamily="2" charset="-78"/>
            </a:endParaRPr>
          </a:p>
        </p:txBody>
      </p:sp>
    </p:spTree>
    <p:extLst>
      <p:ext uri="{BB962C8B-B14F-4D97-AF65-F5344CB8AC3E}">
        <p14:creationId xmlns:p14="http://schemas.microsoft.com/office/powerpoint/2010/main" val="3746702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93000">
              <a:schemeClr val="accent1">
                <a:lumMod val="40000"/>
                <a:lumOff val="60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xmlns="" id="{F144EE36-71BD-4CAC-8006-DCFCC3B476BA}"/>
              </a:ext>
            </a:extLst>
          </p:cNvPr>
          <p:cNvSpPr txBox="1"/>
          <p:nvPr/>
        </p:nvSpPr>
        <p:spPr>
          <a:xfrm>
            <a:off x="914401" y="158448"/>
            <a:ext cx="9258299" cy="584775"/>
          </a:xfrm>
          <a:prstGeom prst="rect">
            <a:avLst/>
          </a:prstGeom>
          <a:noFill/>
        </p:spPr>
        <p:txBody>
          <a:bodyPr wrap="square" rtlCol="0">
            <a:spAutoFit/>
          </a:bodyPr>
          <a:lstStyle/>
          <a:p>
            <a:pPr algn="just" rtl="1">
              <a:defRPr/>
            </a:pPr>
            <a:r>
              <a:rPr lang="fa-IR" sz="3200" spc="-150" dirty="0" smtClean="0">
                <a:solidFill>
                  <a:srgbClr val="4472C4">
                    <a:lumMod val="75000"/>
                  </a:srgbClr>
                </a:solidFill>
                <a:effectLst>
                  <a:outerShdw blurRad="50800" dist="50800" dir="2700000" algn="tl" rotWithShape="0">
                    <a:srgbClr val="000000">
                      <a:alpha val="43137"/>
                    </a:srgbClr>
                  </a:outerShdw>
                </a:effectLst>
                <a:latin typeface="Corbel"/>
                <a:ea typeface="+mj-ea"/>
                <a:cs typeface="B Nazanin" panose="00000400000000000000" pitchFamily="2" charset="-78"/>
              </a:rPr>
              <a:t>در انتخاب مجله علمی مناسب برای چاپ مقاله چه فاکتورهایی را باید در نظر گرفت؟</a:t>
            </a:r>
          </a:p>
        </p:txBody>
      </p:sp>
      <p:sp>
        <p:nvSpPr>
          <p:cNvPr id="9" name="Diamond 8">
            <a:extLst>
              <a:ext uri="{FF2B5EF4-FFF2-40B4-BE49-F238E27FC236}">
                <a16:creationId xmlns:a16="http://schemas.microsoft.com/office/drawing/2014/main" xmlns="" id="{D1B97FE5-8134-4551-A603-6956B3FAAF4F}"/>
              </a:ext>
            </a:extLst>
          </p:cNvPr>
          <p:cNvSpPr/>
          <p:nvPr/>
        </p:nvSpPr>
        <p:spPr>
          <a:xfrm>
            <a:off x="10340568" y="885038"/>
            <a:ext cx="655208" cy="655208"/>
          </a:xfrm>
          <a:prstGeom prst="diamond">
            <a:avLst/>
          </a:prstGeom>
          <a:solidFill>
            <a:srgbClr val="9C319F"/>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0</a:t>
            </a:r>
            <a:endParaRPr lang="en-IN" sz="11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Diamond 9">
            <a:extLst>
              <a:ext uri="{FF2B5EF4-FFF2-40B4-BE49-F238E27FC236}">
                <a16:creationId xmlns:a16="http://schemas.microsoft.com/office/drawing/2014/main" xmlns="" id="{7AFE004F-1739-4DFB-94E4-AB23F374053D}"/>
              </a:ext>
            </a:extLst>
          </p:cNvPr>
          <p:cNvSpPr/>
          <p:nvPr/>
        </p:nvSpPr>
        <p:spPr>
          <a:xfrm>
            <a:off x="10340568" y="2286902"/>
            <a:ext cx="655208" cy="655208"/>
          </a:xfrm>
          <a:prstGeom prst="diamond">
            <a:avLst/>
          </a:prstGeom>
          <a:solidFill>
            <a:srgbClr val="00BC82"/>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2</a:t>
            </a:r>
            <a:endParaRPr lang="en-IN" sz="11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Diamond 10">
            <a:extLst>
              <a:ext uri="{FF2B5EF4-FFF2-40B4-BE49-F238E27FC236}">
                <a16:creationId xmlns:a16="http://schemas.microsoft.com/office/drawing/2014/main" xmlns="" id="{68AF1015-1E1F-47C5-ACC5-0337A1C94718}"/>
              </a:ext>
            </a:extLst>
          </p:cNvPr>
          <p:cNvSpPr/>
          <p:nvPr/>
        </p:nvSpPr>
        <p:spPr>
          <a:xfrm>
            <a:off x="10340568" y="3697542"/>
            <a:ext cx="655208" cy="655208"/>
          </a:xfrm>
          <a:prstGeom prst="diamond">
            <a:avLst/>
          </a:prstGeom>
          <a:solidFill>
            <a:srgbClr val="5D92BB"/>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4</a:t>
            </a:r>
            <a:endParaRPr lang="en-IN" sz="20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xmlns="" id="{F03EF9C9-A571-4C6A-B941-10D24D2FF222}"/>
              </a:ext>
            </a:extLst>
          </p:cNvPr>
          <p:cNvSpPr txBox="1"/>
          <p:nvPr/>
        </p:nvSpPr>
        <p:spPr>
          <a:xfrm>
            <a:off x="916802" y="964837"/>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بررسی </a:t>
            </a:r>
            <a:r>
              <a:rPr lang="fa-IR" sz="2400" dirty="0">
                <a:solidFill>
                  <a:prstClr val="black"/>
                </a:solidFill>
                <a:cs typeface="B Yekan" panose="00000400000000000000" pitchFamily="2" charset="-78"/>
              </a:rPr>
              <a:t>دسترسی باز یا محدود و یا هیبرید بودن مجلات </a:t>
            </a:r>
            <a:endParaRPr lang="fa-IR" sz="2400" dirty="0" smtClean="0">
              <a:solidFill>
                <a:prstClr val="black"/>
              </a:solidFill>
              <a:cs typeface="B Yekan" panose="00000400000000000000" pitchFamily="2" charset="-78"/>
            </a:endParaRPr>
          </a:p>
        </p:txBody>
      </p:sp>
      <p:sp>
        <p:nvSpPr>
          <p:cNvPr id="21" name="TextBox 20">
            <a:extLst>
              <a:ext uri="{FF2B5EF4-FFF2-40B4-BE49-F238E27FC236}">
                <a16:creationId xmlns:a16="http://schemas.microsoft.com/office/drawing/2014/main" xmlns="" id="{F03EF9C9-A571-4C6A-B941-10D24D2FF222}"/>
              </a:ext>
            </a:extLst>
          </p:cNvPr>
          <p:cNvSpPr txBox="1"/>
          <p:nvPr/>
        </p:nvSpPr>
        <p:spPr>
          <a:xfrm>
            <a:off x="916802" y="2292491"/>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موضوع </a:t>
            </a:r>
            <a:r>
              <a:rPr lang="fa-IR" sz="2400" dirty="0">
                <a:solidFill>
                  <a:prstClr val="black"/>
                </a:solidFill>
                <a:cs typeface="B Yekan" panose="00000400000000000000" pitchFamily="2" charset="-78"/>
              </a:rPr>
              <a:t>مقاله تان را در مجله جستجو نمایید </a:t>
            </a:r>
            <a:endParaRPr lang="fa-IR" sz="2400" dirty="0">
              <a:solidFill>
                <a:srgbClr val="5B9BD5">
                  <a:lumMod val="50000"/>
                </a:srgbClr>
              </a:solidFill>
              <a:cs typeface="B Yekan" panose="00000400000000000000" pitchFamily="2" charset="-78"/>
            </a:endParaRPr>
          </a:p>
        </p:txBody>
      </p:sp>
      <p:sp>
        <p:nvSpPr>
          <p:cNvPr id="22" name="TextBox 21">
            <a:extLst>
              <a:ext uri="{FF2B5EF4-FFF2-40B4-BE49-F238E27FC236}">
                <a16:creationId xmlns:a16="http://schemas.microsoft.com/office/drawing/2014/main" xmlns="" id="{F03EF9C9-A571-4C6A-B941-10D24D2FF222}"/>
              </a:ext>
            </a:extLst>
          </p:cNvPr>
          <p:cNvSpPr txBox="1"/>
          <p:nvPr/>
        </p:nvSpPr>
        <p:spPr>
          <a:xfrm>
            <a:off x="916802" y="3791267"/>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همکاری </a:t>
            </a:r>
            <a:r>
              <a:rPr lang="fa-IR" sz="2400" dirty="0">
                <a:solidFill>
                  <a:prstClr val="black"/>
                </a:solidFill>
                <a:cs typeface="B Yekan" panose="00000400000000000000" pitchFamily="2" charset="-78"/>
              </a:rPr>
              <a:t>با نویسندگان خارجی هم حوزه </a:t>
            </a:r>
            <a:endParaRPr lang="fa-IR" sz="2400" dirty="0" smtClean="0">
              <a:solidFill>
                <a:prstClr val="black"/>
              </a:solidFill>
              <a:cs typeface="B Yekan" panose="00000400000000000000" pitchFamily="2" charset="-78"/>
            </a:endParaRPr>
          </a:p>
        </p:txBody>
      </p:sp>
      <p:sp>
        <p:nvSpPr>
          <p:cNvPr id="14" name="Diamond 13">
            <a:extLst>
              <a:ext uri="{FF2B5EF4-FFF2-40B4-BE49-F238E27FC236}">
                <a16:creationId xmlns:a16="http://schemas.microsoft.com/office/drawing/2014/main" xmlns="" id="{D1B97FE5-8134-4551-A603-6956B3FAAF4F}"/>
              </a:ext>
            </a:extLst>
          </p:cNvPr>
          <p:cNvSpPr/>
          <p:nvPr/>
        </p:nvSpPr>
        <p:spPr>
          <a:xfrm>
            <a:off x="10337993" y="1584471"/>
            <a:ext cx="655208" cy="655208"/>
          </a:xfrm>
          <a:prstGeom prst="diamond">
            <a:avLst/>
          </a:prstGeom>
          <a:solidFill>
            <a:srgbClr val="002060"/>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1</a:t>
            </a:r>
            <a:endParaRPr lang="en-IN" sz="11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Diamond 14">
            <a:extLst>
              <a:ext uri="{FF2B5EF4-FFF2-40B4-BE49-F238E27FC236}">
                <a16:creationId xmlns:a16="http://schemas.microsoft.com/office/drawing/2014/main" xmlns="" id="{7AFE004F-1739-4DFB-94E4-AB23F374053D}"/>
              </a:ext>
            </a:extLst>
          </p:cNvPr>
          <p:cNvSpPr/>
          <p:nvPr/>
        </p:nvSpPr>
        <p:spPr>
          <a:xfrm>
            <a:off x="10337993" y="2999985"/>
            <a:ext cx="655208" cy="655208"/>
          </a:xfrm>
          <a:prstGeom prst="diamond">
            <a:avLst/>
          </a:prstGeom>
          <a:solidFill>
            <a:srgbClr val="FF6699"/>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3</a:t>
            </a:r>
            <a:endParaRPr lang="en-IN" sz="11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xmlns="" id="{F03EF9C9-A571-4C6A-B941-10D24D2FF222}"/>
              </a:ext>
            </a:extLst>
          </p:cNvPr>
          <p:cNvSpPr txBox="1"/>
          <p:nvPr/>
        </p:nvSpPr>
        <p:spPr>
          <a:xfrm>
            <a:off x="916802" y="1655996"/>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ارسال </a:t>
            </a:r>
            <a:r>
              <a:rPr lang="fa-IR" sz="2400" dirty="0">
                <a:solidFill>
                  <a:prstClr val="black"/>
                </a:solidFill>
                <a:cs typeface="B Yekan" panose="00000400000000000000" pitchFamily="2" charset="-78"/>
              </a:rPr>
              <a:t>مقاله به مجلاتی که قبلا در آنها مقاله چاپ نموده اید</a:t>
            </a:r>
            <a:endParaRPr lang="fa-IR" sz="2400" dirty="0" smtClean="0">
              <a:solidFill>
                <a:prstClr val="black"/>
              </a:solidFill>
              <a:cs typeface="B Yekan" panose="00000400000000000000" pitchFamily="2" charset="-78"/>
            </a:endParaRPr>
          </a:p>
        </p:txBody>
      </p:sp>
      <p:sp>
        <p:nvSpPr>
          <p:cNvPr id="18" name="TextBox 17">
            <a:extLst>
              <a:ext uri="{FF2B5EF4-FFF2-40B4-BE49-F238E27FC236}">
                <a16:creationId xmlns:a16="http://schemas.microsoft.com/office/drawing/2014/main" xmlns="" id="{F03EF9C9-A571-4C6A-B941-10D24D2FF222}"/>
              </a:ext>
            </a:extLst>
          </p:cNvPr>
          <p:cNvSpPr txBox="1"/>
          <p:nvPr/>
        </p:nvSpPr>
        <p:spPr>
          <a:xfrm>
            <a:off x="916802" y="3062699"/>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با </a:t>
            </a:r>
            <a:r>
              <a:rPr lang="fa-IR" sz="2400" dirty="0">
                <a:solidFill>
                  <a:prstClr val="black"/>
                </a:solidFill>
                <a:cs typeface="B Yekan" panose="00000400000000000000" pitchFamily="2" charset="-78"/>
              </a:rPr>
              <a:t>محدودیت‌ها و الزامات هر مجله آشنا شوید </a:t>
            </a:r>
            <a:endParaRPr lang="fa-IR" sz="2400" dirty="0" smtClean="0">
              <a:solidFill>
                <a:prstClr val="black"/>
              </a:solidFill>
              <a:cs typeface="B Yekan" panose="00000400000000000000" pitchFamily="2" charset="-78"/>
            </a:endParaRPr>
          </a:p>
        </p:txBody>
      </p:sp>
      <p:sp>
        <p:nvSpPr>
          <p:cNvPr id="31" name="Diamond 30">
            <a:extLst>
              <a:ext uri="{FF2B5EF4-FFF2-40B4-BE49-F238E27FC236}">
                <a16:creationId xmlns:a16="http://schemas.microsoft.com/office/drawing/2014/main" xmlns="" id="{7AFE004F-1739-4DFB-94E4-AB23F374053D}"/>
              </a:ext>
            </a:extLst>
          </p:cNvPr>
          <p:cNvSpPr/>
          <p:nvPr/>
        </p:nvSpPr>
        <p:spPr>
          <a:xfrm>
            <a:off x="10338013" y="4418773"/>
            <a:ext cx="655208" cy="655208"/>
          </a:xfrm>
          <a:prstGeom prst="diamond">
            <a:avLst/>
          </a:prstGeom>
          <a:solidFill>
            <a:srgbClr val="FFC000"/>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5</a:t>
            </a:r>
            <a:endParaRPr lang="en-IN" sz="11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Diamond 31">
            <a:extLst>
              <a:ext uri="{FF2B5EF4-FFF2-40B4-BE49-F238E27FC236}">
                <a16:creationId xmlns:a16="http://schemas.microsoft.com/office/drawing/2014/main" xmlns="" id="{68AF1015-1E1F-47C5-ACC5-0337A1C94718}"/>
              </a:ext>
            </a:extLst>
          </p:cNvPr>
          <p:cNvSpPr/>
          <p:nvPr/>
        </p:nvSpPr>
        <p:spPr>
          <a:xfrm>
            <a:off x="10338013" y="5829413"/>
            <a:ext cx="655208" cy="655208"/>
          </a:xfrm>
          <a:prstGeom prst="diamond">
            <a:avLst/>
          </a:prstGeom>
          <a:solidFill>
            <a:schemeClr val="accent2">
              <a:lumMod val="75000"/>
            </a:schemeClr>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7</a:t>
            </a:r>
            <a:endParaRPr lang="en-IN" sz="20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TextBox 32">
            <a:extLst>
              <a:ext uri="{FF2B5EF4-FFF2-40B4-BE49-F238E27FC236}">
                <a16:creationId xmlns:a16="http://schemas.microsoft.com/office/drawing/2014/main" xmlns="" id="{F03EF9C9-A571-4C6A-B941-10D24D2FF222}"/>
              </a:ext>
            </a:extLst>
          </p:cNvPr>
          <p:cNvSpPr txBox="1"/>
          <p:nvPr/>
        </p:nvSpPr>
        <p:spPr>
          <a:xfrm>
            <a:off x="914247" y="4470662"/>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استناد </a:t>
            </a:r>
            <a:r>
              <a:rPr lang="fa-IR" sz="2400" dirty="0">
                <a:solidFill>
                  <a:prstClr val="black"/>
                </a:solidFill>
                <a:cs typeface="B Yekan" panose="00000400000000000000" pitchFamily="2" charset="-78"/>
              </a:rPr>
              <a:t>به مقالات پراستناد و پر بازدید یک مجله </a:t>
            </a:r>
            <a:endParaRPr lang="fa-IR" sz="2400" dirty="0">
              <a:solidFill>
                <a:srgbClr val="5B9BD5">
                  <a:lumMod val="50000"/>
                </a:srgbClr>
              </a:solidFill>
              <a:cs typeface="B Yekan" panose="00000400000000000000" pitchFamily="2" charset="-78"/>
            </a:endParaRPr>
          </a:p>
        </p:txBody>
      </p:sp>
      <p:sp>
        <p:nvSpPr>
          <p:cNvPr id="34" name="TextBox 33">
            <a:extLst>
              <a:ext uri="{FF2B5EF4-FFF2-40B4-BE49-F238E27FC236}">
                <a16:creationId xmlns:a16="http://schemas.microsoft.com/office/drawing/2014/main" xmlns="" id="{F03EF9C9-A571-4C6A-B941-10D24D2FF222}"/>
              </a:ext>
            </a:extLst>
          </p:cNvPr>
          <p:cNvSpPr txBox="1"/>
          <p:nvPr/>
        </p:nvSpPr>
        <p:spPr>
          <a:xfrm>
            <a:off x="555585" y="5923138"/>
            <a:ext cx="9611358" cy="830997"/>
          </a:xfrm>
          <a:prstGeom prst="rect">
            <a:avLst/>
          </a:prstGeom>
          <a:noFill/>
        </p:spPr>
        <p:txBody>
          <a:bodyPr wrap="square" rtlCol="0">
            <a:spAutoFit/>
          </a:bodyPr>
          <a:lstStyle/>
          <a:p>
            <a:pPr algn="r" rtl="1">
              <a:defRPr/>
            </a:pPr>
            <a:r>
              <a:rPr lang="fa-IR" sz="2400" dirty="0">
                <a:solidFill>
                  <a:prstClr val="black"/>
                </a:solidFill>
                <a:cs typeface="B Yekan" panose="00000400000000000000" pitchFamily="2" charset="-78"/>
              </a:rPr>
              <a:t>با کمک منابع آنلاین، کتابداران و یا همکاران لیستی از تمام فاکتورها و مجلات مناسب و مرتبط تهیه کنید </a:t>
            </a:r>
            <a:endParaRPr lang="fa-IR" sz="2400" dirty="0" smtClean="0">
              <a:solidFill>
                <a:prstClr val="black"/>
              </a:solidFill>
              <a:cs typeface="B Yekan" panose="00000400000000000000" pitchFamily="2" charset="-78"/>
            </a:endParaRPr>
          </a:p>
        </p:txBody>
      </p:sp>
      <p:sp>
        <p:nvSpPr>
          <p:cNvPr id="35" name="Diamond 34">
            <a:extLst>
              <a:ext uri="{FF2B5EF4-FFF2-40B4-BE49-F238E27FC236}">
                <a16:creationId xmlns:a16="http://schemas.microsoft.com/office/drawing/2014/main" xmlns="" id="{7AFE004F-1739-4DFB-94E4-AB23F374053D}"/>
              </a:ext>
            </a:extLst>
          </p:cNvPr>
          <p:cNvSpPr/>
          <p:nvPr/>
        </p:nvSpPr>
        <p:spPr>
          <a:xfrm>
            <a:off x="10335438" y="5131856"/>
            <a:ext cx="655208" cy="655208"/>
          </a:xfrm>
          <a:prstGeom prst="diamond">
            <a:avLst/>
          </a:prstGeom>
          <a:solidFill>
            <a:schemeClr val="accent6">
              <a:lumMod val="75000"/>
            </a:schemeClr>
          </a:solidFill>
          <a:ln w="25400" cap="flat" cmpd="sng" algn="ctr">
            <a:noFill/>
            <a:prstDash val="solid"/>
          </a:ln>
          <a:effectLst/>
        </p:spPr>
        <p:txBody>
          <a:bodyPr rtlCol="0" anchor="ctr"/>
          <a:lstStyle/>
          <a:p>
            <a:pPr algn="ctr" defTabSz="1218987">
              <a:defRPr/>
            </a:pPr>
            <a:r>
              <a:rPr lang="en-IN" sz="1100" b="1" kern="0" dirty="0" smtClean="0">
                <a:solidFill>
                  <a:prstClr val="white"/>
                </a:solidFill>
                <a:latin typeface="Open Sans" panose="020B0606030504020204" pitchFamily="34" charset="0"/>
                <a:ea typeface="Open Sans" panose="020B0606030504020204" pitchFamily="34" charset="0"/>
                <a:cs typeface="Open Sans" panose="020B0606030504020204" pitchFamily="34" charset="0"/>
              </a:rPr>
              <a:t>16</a:t>
            </a:r>
            <a:endParaRPr lang="en-IN" sz="1100" b="1" kern="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TextBox 35">
            <a:extLst>
              <a:ext uri="{FF2B5EF4-FFF2-40B4-BE49-F238E27FC236}">
                <a16:creationId xmlns:a16="http://schemas.microsoft.com/office/drawing/2014/main" xmlns="" id="{F03EF9C9-A571-4C6A-B941-10D24D2FF222}"/>
              </a:ext>
            </a:extLst>
          </p:cNvPr>
          <p:cNvSpPr txBox="1"/>
          <p:nvPr/>
        </p:nvSpPr>
        <p:spPr>
          <a:xfrm>
            <a:off x="914247" y="5194570"/>
            <a:ext cx="9252696" cy="461665"/>
          </a:xfrm>
          <a:prstGeom prst="rect">
            <a:avLst/>
          </a:prstGeom>
          <a:noFill/>
        </p:spPr>
        <p:txBody>
          <a:bodyPr wrap="square" rtlCol="0">
            <a:spAutoFit/>
          </a:bodyPr>
          <a:lstStyle/>
          <a:p>
            <a:pPr algn="r" rtl="1">
              <a:defRPr/>
            </a:pPr>
            <a:r>
              <a:rPr lang="fa-IR" sz="2400" dirty="0" smtClean="0">
                <a:solidFill>
                  <a:prstClr val="black"/>
                </a:solidFill>
                <a:cs typeface="B Yekan" panose="00000400000000000000" pitchFamily="2" charset="-78"/>
              </a:rPr>
              <a:t>بررسی </a:t>
            </a:r>
            <a:r>
              <a:rPr lang="fa-IR" sz="2400" dirty="0">
                <a:solidFill>
                  <a:prstClr val="black"/>
                </a:solidFill>
                <a:cs typeface="B Yekan" panose="00000400000000000000" pitchFamily="2" charset="-78"/>
              </a:rPr>
              <a:t>معیار دیده شدن مقاله تان بعد از چاپ </a:t>
            </a:r>
            <a:endParaRPr lang="fa-IR" sz="2400" dirty="0" smtClean="0">
              <a:solidFill>
                <a:prstClr val="black"/>
              </a:solidFill>
              <a:cs typeface="B Yekan" panose="00000400000000000000" pitchFamily="2" charset="-78"/>
            </a:endParaRPr>
          </a:p>
        </p:txBody>
      </p:sp>
    </p:spTree>
    <p:extLst>
      <p:ext uri="{BB962C8B-B14F-4D97-AF65-F5344CB8AC3E}">
        <p14:creationId xmlns:p14="http://schemas.microsoft.com/office/powerpoint/2010/main" val="3960435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93000">
              <a:schemeClr val="accent1">
                <a:lumMod val="40000"/>
                <a:lumOff val="60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F144EE36-71BD-4CAC-8006-DCFCC3B476BA}"/>
              </a:ext>
            </a:extLst>
          </p:cNvPr>
          <p:cNvSpPr txBox="1"/>
          <p:nvPr/>
        </p:nvSpPr>
        <p:spPr>
          <a:xfrm>
            <a:off x="6713316" y="535036"/>
            <a:ext cx="4725584" cy="769441"/>
          </a:xfrm>
          <a:prstGeom prst="rect">
            <a:avLst/>
          </a:prstGeom>
          <a:noFill/>
        </p:spPr>
        <p:txBody>
          <a:bodyPr wrap="square" rtlCol="0">
            <a:spAutoFit/>
          </a:bodyPr>
          <a:lstStyle/>
          <a:p>
            <a:pPr algn="just" rtl="1">
              <a:defRPr/>
            </a:pPr>
            <a:r>
              <a:rPr lang="fa-IR" sz="4400" spc="-150" dirty="0" smtClean="0">
                <a:solidFill>
                  <a:schemeClr val="accent5">
                    <a:lumMod val="75000"/>
                  </a:schemeClr>
                </a:solidFill>
                <a:effectLst>
                  <a:outerShdw blurRad="50800" dist="50800" dir="2700000" algn="tl" rotWithShape="0">
                    <a:srgbClr val="000000">
                      <a:alpha val="43137"/>
                    </a:srgbClr>
                  </a:outerShdw>
                </a:effectLst>
                <a:latin typeface="Corbel"/>
                <a:ea typeface="+mj-ea"/>
                <a:cs typeface="B Nazanin" panose="00000400000000000000" pitchFamily="2" charset="-78"/>
              </a:rPr>
              <a:t>ژورنال یاب ها</a:t>
            </a:r>
            <a:endParaRPr lang="fa-IR" sz="4400" spc="-150" dirty="0" smtClean="0">
              <a:solidFill>
                <a:schemeClr val="accent5">
                  <a:lumMod val="75000"/>
                </a:schemeClr>
              </a:solidFill>
              <a:effectLst>
                <a:outerShdw blurRad="50800" dist="50800" dir="2700000" algn="tl" rotWithShape="0">
                  <a:srgbClr val="000000">
                    <a:alpha val="43137"/>
                  </a:srgbClr>
                </a:outerShdw>
              </a:effectLst>
              <a:latin typeface="Corbel"/>
              <a:ea typeface="+mj-ea"/>
              <a:cs typeface="B Nazanin" panose="00000400000000000000" pitchFamily="2" charset="-78"/>
            </a:endParaRPr>
          </a:p>
        </p:txBody>
      </p:sp>
      <p:sp>
        <p:nvSpPr>
          <p:cNvPr id="6" name="Rectangle 5"/>
          <p:cNvSpPr/>
          <p:nvPr/>
        </p:nvSpPr>
        <p:spPr>
          <a:xfrm>
            <a:off x="645267" y="1139690"/>
            <a:ext cx="7618512" cy="5119222"/>
          </a:xfrm>
          <a:prstGeom prst="rect">
            <a:avLst/>
          </a:prstGeom>
        </p:spPr>
        <p:txBody>
          <a:bodyPr wrap="square">
            <a:spAutoFit/>
          </a:bodyPr>
          <a:lstStyle/>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2"/>
              </a:rPr>
              <a:t>https://journalfinder.elsevier.com</a:t>
            </a:r>
            <a:r>
              <a:rPr lang="en-US" dirty="0" smtClean="0">
                <a:solidFill>
                  <a:srgbClr val="FF0000"/>
                </a:solidFill>
                <a:ea typeface="Calibri"/>
                <a:cs typeface="Arial"/>
                <a:hlinkClick r:id="rId2"/>
              </a:rPr>
              <a:t>/</a:t>
            </a:r>
            <a:endParaRPr lang="en-US"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3"/>
              </a:rPr>
              <a:t>https://</a:t>
            </a:r>
            <a:r>
              <a:rPr lang="en-US" dirty="0" smtClean="0">
                <a:solidFill>
                  <a:srgbClr val="FF0000"/>
                </a:solidFill>
                <a:ea typeface="Calibri"/>
                <a:cs typeface="Arial"/>
                <a:hlinkClick r:id="rId3"/>
              </a:rPr>
              <a:t>journalsuggester.springer.com/</a:t>
            </a:r>
            <a:endParaRPr lang="en-US"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4"/>
              </a:rPr>
              <a:t>https://jane.biosemantics.org/</a:t>
            </a:r>
            <a:endParaRPr lang="en-US" dirty="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smtClean="0">
                <a:solidFill>
                  <a:srgbClr val="FF0000"/>
                </a:solidFill>
                <a:ea typeface="Calibri"/>
                <a:cs typeface="Arial"/>
                <a:hlinkClick r:id="rId5"/>
              </a:rPr>
              <a:t>https</a:t>
            </a:r>
            <a:r>
              <a:rPr lang="en-US" dirty="0">
                <a:solidFill>
                  <a:srgbClr val="FF0000"/>
                </a:solidFill>
                <a:ea typeface="Calibri"/>
                <a:cs typeface="Arial"/>
                <a:hlinkClick r:id="rId5"/>
              </a:rPr>
              <a:t>://www.journalguide.com</a:t>
            </a:r>
            <a:r>
              <a:rPr lang="en-US" dirty="0" smtClean="0">
                <a:solidFill>
                  <a:srgbClr val="FF0000"/>
                </a:solidFill>
                <a:ea typeface="Calibri"/>
                <a:cs typeface="Arial"/>
                <a:hlinkClick r:id="rId5"/>
              </a:rPr>
              <a:t>/</a:t>
            </a:r>
            <a:endParaRPr lang="en-US"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6"/>
              </a:rPr>
              <a:t>https://</a:t>
            </a:r>
            <a:r>
              <a:rPr lang="en-US" dirty="0" smtClean="0">
                <a:solidFill>
                  <a:srgbClr val="FF0000"/>
                </a:solidFill>
                <a:ea typeface="Calibri"/>
                <a:cs typeface="Arial"/>
                <a:hlinkClick r:id="rId6"/>
              </a:rPr>
              <a:t>www.edanz.com/journal-selector</a:t>
            </a:r>
            <a:endParaRPr lang="en-US"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7"/>
              </a:rPr>
              <a:t>https://</a:t>
            </a:r>
            <a:r>
              <a:rPr lang="en-US" dirty="0" smtClean="0">
                <a:solidFill>
                  <a:srgbClr val="FF0000"/>
                </a:solidFill>
                <a:ea typeface="Calibri"/>
                <a:cs typeface="Arial"/>
                <a:hlinkClick r:id="rId7"/>
              </a:rPr>
              <a:t>journalfinder.wiley.com/search?type=match</a:t>
            </a:r>
            <a:endParaRPr lang="en-US"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8"/>
              </a:rPr>
              <a:t>https://www.findmyjournal.com</a:t>
            </a:r>
            <a:r>
              <a:rPr lang="en-US" dirty="0" smtClean="0">
                <a:solidFill>
                  <a:srgbClr val="FF0000"/>
                </a:solidFill>
                <a:ea typeface="Calibri"/>
                <a:cs typeface="Arial"/>
                <a:hlinkClick r:id="rId8"/>
              </a:rPr>
              <a:t>/</a:t>
            </a:r>
            <a:endParaRPr lang="en-US"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9"/>
              </a:rPr>
              <a:t>http://journalseek.net</a:t>
            </a:r>
            <a:r>
              <a:rPr lang="en-US" dirty="0" smtClean="0">
                <a:solidFill>
                  <a:srgbClr val="FF0000"/>
                </a:solidFill>
                <a:ea typeface="Calibri"/>
                <a:cs typeface="Arial"/>
                <a:hlinkClick r:id="rId9"/>
              </a:rPr>
              <a:t>/</a:t>
            </a:r>
            <a:endParaRPr lang="fa-IR" dirty="0" smtClean="0">
              <a:solidFill>
                <a:srgbClr val="FF0000"/>
              </a:solidFill>
              <a:ea typeface="Calibri"/>
              <a:cs typeface="Arial"/>
            </a:endParaRPr>
          </a:p>
          <a:p>
            <a:pPr marL="34290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10"/>
              </a:rPr>
              <a:t>https://journalfinder.ricest.ac.ir</a:t>
            </a:r>
            <a:r>
              <a:rPr lang="en-US" dirty="0" smtClean="0">
                <a:solidFill>
                  <a:srgbClr val="FF0000"/>
                </a:solidFill>
                <a:ea typeface="Calibri"/>
                <a:cs typeface="Arial"/>
                <a:hlinkClick r:id="rId10"/>
              </a:rPr>
              <a:t>/</a:t>
            </a:r>
            <a:endParaRPr lang="en-US" dirty="0" smtClean="0">
              <a:solidFill>
                <a:srgbClr val="FF0000"/>
              </a:solidFill>
              <a:ea typeface="Calibri"/>
              <a:cs typeface="Arial"/>
            </a:endParaRPr>
          </a:p>
        </p:txBody>
      </p:sp>
      <p:sp>
        <p:nvSpPr>
          <p:cNvPr id="2" name="Rectangle 1"/>
          <p:cNvSpPr/>
          <p:nvPr/>
        </p:nvSpPr>
        <p:spPr>
          <a:xfrm>
            <a:off x="6929391" y="2322321"/>
            <a:ext cx="5073555" cy="3345275"/>
          </a:xfrm>
          <a:prstGeom prst="rect">
            <a:avLst/>
          </a:prstGeom>
        </p:spPr>
        <p:txBody>
          <a:bodyPr wrap="square">
            <a:spAutoFit/>
          </a:bodyPr>
          <a:lstStyle/>
          <a:p>
            <a:pPr marL="342900" lvl="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11"/>
              </a:rPr>
              <a:t>https://</a:t>
            </a:r>
            <a:r>
              <a:rPr lang="en-US" dirty="0" smtClean="0">
                <a:solidFill>
                  <a:srgbClr val="FF0000"/>
                </a:solidFill>
                <a:ea typeface="Calibri"/>
                <a:cs typeface="Arial"/>
                <a:hlinkClick r:id="rId11"/>
              </a:rPr>
              <a:t>rsf.research.ac.ir/Index.php?itemId=3284</a:t>
            </a:r>
          </a:p>
          <a:p>
            <a:pPr marL="342900" lvl="0" indent="-342900">
              <a:lnSpc>
                <a:spcPct val="107000"/>
              </a:lnSpc>
              <a:spcBef>
                <a:spcPts val="1500"/>
              </a:spcBef>
              <a:spcAft>
                <a:spcPts val="750"/>
              </a:spcAft>
              <a:buSzPct val="200000"/>
              <a:buFont typeface="Arial" panose="020B0604020202020204" pitchFamily="34" charset="0"/>
              <a:buChar char="•"/>
            </a:pPr>
            <a:r>
              <a:rPr lang="en-US" dirty="0" smtClean="0">
                <a:solidFill>
                  <a:srgbClr val="FF0000"/>
                </a:solidFill>
                <a:ea typeface="Calibri"/>
                <a:cs typeface="Arial"/>
                <a:hlinkClick r:id="rId11"/>
              </a:rPr>
              <a:t>https</a:t>
            </a:r>
            <a:r>
              <a:rPr lang="en-US" dirty="0">
                <a:solidFill>
                  <a:srgbClr val="FF0000"/>
                </a:solidFill>
                <a:ea typeface="Calibri"/>
                <a:cs typeface="Arial"/>
                <a:hlinkClick r:id="rId11"/>
              </a:rPr>
              <a:t>://journals.msrt.ir/</a:t>
            </a:r>
            <a:endParaRPr lang="en-US" dirty="0">
              <a:solidFill>
                <a:srgbClr val="FF0000"/>
              </a:solidFill>
              <a:ea typeface="Calibri"/>
              <a:cs typeface="Arial"/>
            </a:endParaRPr>
          </a:p>
          <a:p>
            <a:pPr marL="342900" lvl="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12"/>
              </a:rPr>
              <a:t>https://journals.research.ac.ir/</a:t>
            </a:r>
            <a:endParaRPr lang="en-US" dirty="0">
              <a:solidFill>
                <a:srgbClr val="FF0000"/>
              </a:solidFill>
              <a:ea typeface="Calibri"/>
              <a:cs typeface="Arial"/>
            </a:endParaRPr>
          </a:p>
          <a:p>
            <a:pPr marL="342900" lvl="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13"/>
              </a:rPr>
              <a:t>https://eval.journals.iau.ir/</a:t>
            </a:r>
            <a:endParaRPr lang="en-US" dirty="0">
              <a:solidFill>
                <a:srgbClr val="FF0000"/>
              </a:solidFill>
              <a:ea typeface="Calibri"/>
              <a:cs typeface="Arial"/>
            </a:endParaRPr>
          </a:p>
          <a:p>
            <a:pPr marL="342900" lvl="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14"/>
              </a:rPr>
              <a:t>https://journals.pnu.ac.ir/</a:t>
            </a:r>
            <a:endParaRPr lang="fa-IR" dirty="0">
              <a:solidFill>
                <a:srgbClr val="FF0000"/>
              </a:solidFill>
              <a:ea typeface="Calibri"/>
            </a:endParaRPr>
          </a:p>
          <a:p>
            <a:pPr marL="342900" lvl="0" indent="-342900">
              <a:lnSpc>
                <a:spcPct val="107000"/>
              </a:lnSpc>
              <a:spcBef>
                <a:spcPts val="1500"/>
              </a:spcBef>
              <a:spcAft>
                <a:spcPts val="750"/>
              </a:spcAft>
              <a:buSzPct val="200000"/>
              <a:buFont typeface="Arial" panose="020B0604020202020204" pitchFamily="34" charset="0"/>
              <a:buChar char="•"/>
            </a:pPr>
            <a:r>
              <a:rPr lang="en-US" dirty="0">
                <a:solidFill>
                  <a:srgbClr val="FF0000"/>
                </a:solidFill>
                <a:ea typeface="Calibri"/>
                <a:cs typeface="Arial"/>
                <a:hlinkClick r:id="rId15"/>
              </a:rPr>
              <a:t>http://ensani.ir/fa/article/journal</a:t>
            </a:r>
            <a:endParaRPr lang="fa-IR" dirty="0">
              <a:solidFill>
                <a:srgbClr val="FF0000"/>
              </a:solidFill>
              <a:ea typeface="Calibri"/>
            </a:endParaRPr>
          </a:p>
        </p:txBody>
      </p:sp>
    </p:spTree>
    <p:extLst>
      <p:ext uri="{BB962C8B-B14F-4D97-AF65-F5344CB8AC3E}">
        <p14:creationId xmlns:p14="http://schemas.microsoft.com/office/powerpoint/2010/main" val="3339023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gradFill flip="none" rotWithShape="1">
          <a:gsLst>
            <a:gs pos="93000">
              <a:schemeClr val="accent1">
                <a:lumMod val="40000"/>
                <a:lumOff val="60000"/>
              </a:schemeClr>
            </a:gs>
            <a:gs pos="21000">
              <a:schemeClr val="bg1">
                <a:lumMod val="95000"/>
              </a:schemeClr>
            </a:gs>
            <a:gs pos="55000">
              <a:srgbClr val="D1FFA7"/>
            </a:gs>
          </a:gsLst>
          <a:lin ang="2700000" scaled="1"/>
          <a:tileRect/>
        </a:gradFill>
        <a:effectLst/>
      </p:bgPr>
    </p:bg>
    <p:spTree>
      <p:nvGrpSpPr>
        <p:cNvPr id="1" name=""/>
        <p:cNvGrpSpPr/>
        <p:nvPr/>
      </p:nvGrpSpPr>
      <p:grpSpPr>
        <a:xfrm>
          <a:off x="0" y="0"/>
          <a:ext cx="0" cy="0"/>
          <a:chOff x="0" y="0"/>
          <a:chExt cx="0" cy="0"/>
        </a:xfrm>
      </p:grpSpPr>
      <p:sp>
        <p:nvSpPr>
          <p:cNvPr id="11" name="Rectangle 10"/>
          <p:cNvSpPr/>
          <p:nvPr/>
        </p:nvSpPr>
        <p:spPr>
          <a:xfrm>
            <a:off x="843149" y="2227388"/>
            <a:ext cx="7462684" cy="2159053"/>
          </a:xfrm>
          <a:prstGeom prst="rect">
            <a:avLst/>
          </a:prstGeom>
        </p:spPr>
        <p:txBody>
          <a:bodyPr wrap="square">
            <a:spAutoFit/>
          </a:bodyPr>
          <a:lstStyle/>
          <a:p>
            <a:pPr marL="457200" lvl="0" indent="-457200">
              <a:lnSpc>
                <a:spcPct val="150000"/>
              </a:lnSpc>
              <a:spcAft>
                <a:spcPts val="800"/>
              </a:spcAft>
              <a:buClr>
                <a:srgbClr val="FF0000"/>
              </a:buClr>
              <a:buSzPct val="120000"/>
              <a:buFont typeface="Wingdings" panose="05000000000000000000" pitchFamily="2" charset="2"/>
              <a:buChar char="ü"/>
            </a:pPr>
            <a:r>
              <a:rPr lang="en-US" sz="2800" b="1" u="sng" dirty="0">
                <a:solidFill>
                  <a:srgbClr val="0563C1"/>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cs typeface="Arial" panose="020B0604020202020204" pitchFamily="34" charset="0"/>
              </a:rPr>
              <a:t>https://journalfinder.elsevier.com/</a:t>
            </a:r>
          </a:p>
          <a:p>
            <a:pPr marL="457200" lvl="0" indent="-457200">
              <a:lnSpc>
                <a:spcPct val="150000"/>
              </a:lnSpc>
              <a:spcAft>
                <a:spcPts val="800"/>
              </a:spcAft>
              <a:buClr>
                <a:srgbClr val="FF0000"/>
              </a:buClr>
              <a:buSzPct val="120000"/>
              <a:buFont typeface="Wingdings" panose="05000000000000000000" pitchFamily="2" charset="2"/>
              <a:buChar char="ü"/>
            </a:pPr>
            <a:r>
              <a:rPr lang="en-US" sz="2800" b="1" u="sng" dirty="0" smtClean="0">
                <a:solidFill>
                  <a:srgbClr val="0563C1"/>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cs typeface="Arial" panose="020B0604020202020204" pitchFamily="34" charset="0"/>
              </a:rPr>
              <a:t>https://journalsuggester.springer.com/</a:t>
            </a:r>
          </a:p>
          <a:p>
            <a:pPr marL="457200" lvl="0" indent="-457200">
              <a:lnSpc>
                <a:spcPct val="150000"/>
              </a:lnSpc>
              <a:spcAft>
                <a:spcPts val="800"/>
              </a:spcAft>
              <a:buClr>
                <a:srgbClr val="FF0000"/>
              </a:buClr>
              <a:buSzPct val="120000"/>
              <a:buFont typeface="Wingdings" panose="05000000000000000000" pitchFamily="2" charset="2"/>
              <a:buChar char="ü"/>
            </a:pPr>
            <a:r>
              <a:rPr lang="en-US" sz="2800" b="1" u="sng" dirty="0" smtClean="0">
                <a:solidFill>
                  <a:srgbClr val="0563C1"/>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cs typeface="Arial" panose="020B0604020202020204" pitchFamily="34" charset="0"/>
              </a:rPr>
              <a:t>https://jane.biosemantics.org/</a:t>
            </a:r>
            <a:endParaRPr lang="en-US" sz="2800" b="1" u="sng" dirty="0">
              <a:solidFill>
                <a:srgbClr val="0563C1"/>
              </a:solidFill>
              <a:effectLst>
                <a:outerShdw blurRad="38100" dist="38100" dir="2700000" algn="tl">
                  <a:srgbClr val="000000">
                    <a:alpha val="43137"/>
                  </a:srgbClr>
                </a:outerShdw>
              </a:effectLst>
              <a:latin typeface="Times New Roman" panose="02020603050405020304" pitchFamily="18" charset="0"/>
              <a:ea typeface="Calibri" panose="020F0502020204030204" pitchFamily="34" charset="0"/>
              <a:cs typeface="Arial" panose="020B0604020202020204" pitchFamily="34" charset="0"/>
            </a:endParaRPr>
          </a:p>
        </p:txBody>
      </p:sp>
      <p:pic>
        <p:nvPicPr>
          <p:cNvPr id="4" name="Picture 3"/>
          <p:cNvPicPr/>
          <p:nvPr/>
        </p:nvPicPr>
        <p:blipFill>
          <a:blip r:embed="rId2"/>
          <a:stretch>
            <a:fillRect/>
          </a:stretch>
        </p:blipFill>
        <p:spPr>
          <a:xfrm>
            <a:off x="6941481" y="2384384"/>
            <a:ext cx="2991519" cy="6276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p:cNvPicPr/>
          <p:nvPr/>
        </p:nvPicPr>
        <p:blipFill>
          <a:blip r:embed="rId3"/>
          <a:stretch>
            <a:fillRect/>
          </a:stretch>
        </p:blipFill>
        <p:spPr>
          <a:xfrm>
            <a:off x="7418669" y="3201113"/>
            <a:ext cx="1751965" cy="47561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p:cNvPicPr/>
          <p:nvPr/>
        </p:nvPicPr>
        <p:blipFill>
          <a:blip r:embed="rId4"/>
          <a:stretch>
            <a:fillRect/>
          </a:stretch>
        </p:blipFill>
        <p:spPr>
          <a:xfrm>
            <a:off x="6266144" y="3889094"/>
            <a:ext cx="2305050" cy="6234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3216420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0E4D8680-AFCE-44D4-ABFE-6BDC5744CF70}"/>
              </a:ext>
            </a:extLst>
          </p:cNvPr>
          <p:cNvSpPr/>
          <p:nvPr/>
        </p:nvSpPr>
        <p:spPr>
          <a:xfrm>
            <a:off x="1588" y="1916512"/>
            <a:ext cx="3456384" cy="9361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xmlns="" id="{C92A1ACE-67E2-4BB4-A8DB-E47C1C808631}"/>
              </a:ext>
            </a:extLst>
          </p:cNvPr>
          <p:cNvSpPr txBox="1"/>
          <p:nvPr/>
        </p:nvSpPr>
        <p:spPr>
          <a:xfrm>
            <a:off x="3558074" y="2021619"/>
            <a:ext cx="5612683" cy="830997"/>
          </a:xfrm>
          <a:prstGeom prst="rect">
            <a:avLst/>
          </a:prstGeom>
          <a:noFill/>
        </p:spPr>
        <p:txBody>
          <a:bodyPr wrap="square" rtlCol="0">
            <a:spAutoFit/>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kumimoji="0" lang="fa-IR" sz="4800" b="0" i="0" u="none" strike="noStrike" kern="1200" cap="none" spc="0" normalizeH="0" baseline="0" noProof="0" dirty="0">
                <a:ln>
                  <a:noFill/>
                </a:ln>
                <a:solidFill>
                  <a:srgbClr val="0070C0"/>
                </a:solidFill>
                <a:effectLst/>
                <a:uLnTx/>
                <a:uFillTx/>
                <a:latin typeface="Calibri" panose="020F0502020204030204"/>
                <a:ea typeface="+mn-ea"/>
                <a:cs typeface="B Yekan" panose="00000400000000000000" pitchFamily="2" charset="-78"/>
              </a:rPr>
              <a:t>با تشکر از توجه شما</a:t>
            </a:r>
          </a:p>
        </p:txBody>
      </p:sp>
      <p:grpSp>
        <p:nvGrpSpPr>
          <p:cNvPr id="5" name="Group 713"/>
          <p:cNvGrpSpPr>
            <a:grpSpLocks noChangeAspect="1"/>
          </p:cNvGrpSpPr>
          <p:nvPr/>
        </p:nvGrpSpPr>
        <p:grpSpPr bwMode="auto">
          <a:xfrm>
            <a:off x="9998101" y="4363555"/>
            <a:ext cx="559703" cy="442873"/>
            <a:chOff x="6912" y="3443"/>
            <a:chExt cx="206" cy="163"/>
          </a:xfrm>
          <a:solidFill>
            <a:schemeClr val="accent3"/>
          </a:solidFill>
        </p:grpSpPr>
        <p:sp>
          <p:nvSpPr>
            <p:cNvPr id="6" name="Freeform 715"/>
            <p:cNvSpPr>
              <a:spLocks/>
            </p:cNvSpPr>
            <p:nvPr/>
          </p:nvSpPr>
          <p:spPr bwMode="auto">
            <a:xfrm>
              <a:off x="6938" y="3479"/>
              <a:ext cx="77" cy="91"/>
            </a:xfrm>
            <a:custGeom>
              <a:avLst/>
              <a:gdLst>
                <a:gd name="T0" fmla="*/ 699 w 1234"/>
                <a:gd name="T1" fmla="*/ 8 h 1540"/>
                <a:gd name="T2" fmla="*/ 795 w 1234"/>
                <a:gd name="T3" fmla="*/ 45 h 1540"/>
                <a:gd name="T4" fmla="*/ 863 w 1234"/>
                <a:gd name="T5" fmla="*/ 105 h 1540"/>
                <a:gd name="T6" fmla="*/ 908 w 1234"/>
                <a:gd name="T7" fmla="*/ 185 h 1540"/>
                <a:gd name="T8" fmla="*/ 934 w 1234"/>
                <a:gd name="T9" fmla="*/ 275 h 1540"/>
                <a:gd name="T10" fmla="*/ 946 w 1234"/>
                <a:gd name="T11" fmla="*/ 369 h 1540"/>
                <a:gd name="T12" fmla="*/ 966 w 1234"/>
                <a:gd name="T13" fmla="*/ 428 h 1540"/>
                <a:gd name="T14" fmla="*/ 999 w 1234"/>
                <a:gd name="T15" fmla="*/ 445 h 1540"/>
                <a:gd name="T16" fmla="*/ 1013 w 1234"/>
                <a:gd name="T17" fmla="*/ 492 h 1540"/>
                <a:gd name="T18" fmla="*/ 1018 w 1234"/>
                <a:gd name="T19" fmla="*/ 557 h 1540"/>
                <a:gd name="T20" fmla="*/ 1001 w 1234"/>
                <a:gd name="T21" fmla="*/ 633 h 1540"/>
                <a:gd name="T22" fmla="*/ 965 w 1234"/>
                <a:gd name="T23" fmla="*/ 701 h 1540"/>
                <a:gd name="T24" fmla="*/ 919 w 1234"/>
                <a:gd name="T25" fmla="*/ 730 h 1540"/>
                <a:gd name="T26" fmla="*/ 881 w 1234"/>
                <a:gd name="T27" fmla="*/ 763 h 1540"/>
                <a:gd name="T28" fmla="*/ 813 w 1234"/>
                <a:gd name="T29" fmla="*/ 872 h 1540"/>
                <a:gd name="T30" fmla="*/ 770 w 1234"/>
                <a:gd name="T31" fmla="*/ 929 h 1540"/>
                <a:gd name="T32" fmla="*/ 778 w 1234"/>
                <a:gd name="T33" fmla="*/ 985 h 1540"/>
                <a:gd name="T34" fmla="*/ 823 w 1234"/>
                <a:gd name="T35" fmla="*/ 1021 h 1540"/>
                <a:gd name="T36" fmla="*/ 966 w 1234"/>
                <a:gd name="T37" fmla="*/ 1026 h 1540"/>
                <a:gd name="T38" fmla="*/ 1081 w 1234"/>
                <a:gd name="T39" fmla="*/ 1067 h 1540"/>
                <a:gd name="T40" fmla="*/ 1170 w 1234"/>
                <a:gd name="T41" fmla="*/ 1149 h 1540"/>
                <a:gd name="T42" fmla="*/ 1224 w 1234"/>
                <a:gd name="T43" fmla="*/ 1261 h 1540"/>
                <a:gd name="T44" fmla="*/ 1234 w 1234"/>
                <a:gd name="T45" fmla="*/ 1437 h 1540"/>
                <a:gd name="T46" fmla="*/ 1213 w 1234"/>
                <a:gd name="T47" fmla="*/ 1501 h 1540"/>
                <a:gd name="T48" fmla="*/ 1159 w 1234"/>
                <a:gd name="T49" fmla="*/ 1537 h 1540"/>
                <a:gd name="T50" fmla="*/ 76 w 1234"/>
                <a:gd name="T51" fmla="*/ 1537 h 1540"/>
                <a:gd name="T52" fmla="*/ 22 w 1234"/>
                <a:gd name="T53" fmla="*/ 1501 h 1540"/>
                <a:gd name="T54" fmla="*/ 0 w 1234"/>
                <a:gd name="T55" fmla="*/ 1437 h 1540"/>
                <a:gd name="T56" fmla="*/ 12 w 1234"/>
                <a:gd name="T57" fmla="*/ 1261 h 1540"/>
                <a:gd name="T58" fmla="*/ 66 w 1234"/>
                <a:gd name="T59" fmla="*/ 1150 h 1540"/>
                <a:gd name="T60" fmla="*/ 154 w 1234"/>
                <a:gd name="T61" fmla="*/ 1068 h 1540"/>
                <a:gd name="T62" fmla="*/ 269 w 1234"/>
                <a:gd name="T63" fmla="*/ 1027 h 1540"/>
                <a:gd name="T64" fmla="*/ 412 w 1234"/>
                <a:gd name="T65" fmla="*/ 1021 h 1540"/>
                <a:gd name="T66" fmla="*/ 458 w 1234"/>
                <a:gd name="T67" fmla="*/ 985 h 1540"/>
                <a:gd name="T68" fmla="*/ 466 w 1234"/>
                <a:gd name="T69" fmla="*/ 929 h 1540"/>
                <a:gd name="T70" fmla="*/ 424 w 1234"/>
                <a:gd name="T71" fmla="*/ 872 h 1540"/>
                <a:gd name="T72" fmla="*/ 356 w 1234"/>
                <a:gd name="T73" fmla="*/ 765 h 1540"/>
                <a:gd name="T74" fmla="*/ 327 w 1234"/>
                <a:gd name="T75" fmla="*/ 730 h 1540"/>
                <a:gd name="T76" fmla="*/ 291 w 1234"/>
                <a:gd name="T77" fmla="*/ 717 h 1540"/>
                <a:gd name="T78" fmla="*/ 249 w 1234"/>
                <a:gd name="T79" fmla="*/ 658 h 1540"/>
                <a:gd name="T80" fmla="*/ 225 w 1234"/>
                <a:gd name="T81" fmla="*/ 581 h 1540"/>
                <a:gd name="T82" fmla="*/ 224 w 1234"/>
                <a:gd name="T83" fmla="*/ 511 h 1540"/>
                <a:gd name="T84" fmla="*/ 235 w 1234"/>
                <a:gd name="T85" fmla="*/ 458 h 1540"/>
                <a:gd name="T86" fmla="*/ 261 w 1234"/>
                <a:gd name="T87" fmla="*/ 430 h 1540"/>
                <a:gd name="T88" fmla="*/ 286 w 1234"/>
                <a:gd name="T89" fmla="*/ 430 h 1540"/>
                <a:gd name="T90" fmla="*/ 292 w 1234"/>
                <a:gd name="T91" fmla="*/ 337 h 1540"/>
                <a:gd name="T92" fmla="*/ 307 w 1234"/>
                <a:gd name="T93" fmla="*/ 244 h 1540"/>
                <a:gd name="T94" fmla="*/ 336 w 1234"/>
                <a:gd name="T95" fmla="*/ 156 h 1540"/>
                <a:gd name="T96" fmla="*/ 387 w 1234"/>
                <a:gd name="T97" fmla="*/ 83 h 1540"/>
                <a:gd name="T98" fmla="*/ 465 w 1234"/>
                <a:gd name="T99" fmla="*/ 29 h 1540"/>
                <a:gd name="T100" fmla="*/ 574 w 1234"/>
                <a:gd name="T101" fmla="*/ 1 h 1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34" h="1540">
                  <a:moveTo>
                    <a:pt x="617" y="0"/>
                  </a:moveTo>
                  <a:lnTo>
                    <a:pt x="660" y="1"/>
                  </a:lnTo>
                  <a:lnTo>
                    <a:pt x="699" y="8"/>
                  </a:lnTo>
                  <a:lnTo>
                    <a:pt x="734" y="16"/>
                  </a:lnTo>
                  <a:lnTo>
                    <a:pt x="766" y="29"/>
                  </a:lnTo>
                  <a:lnTo>
                    <a:pt x="795" y="45"/>
                  </a:lnTo>
                  <a:lnTo>
                    <a:pt x="820" y="63"/>
                  </a:lnTo>
                  <a:lnTo>
                    <a:pt x="842" y="83"/>
                  </a:lnTo>
                  <a:lnTo>
                    <a:pt x="863" y="105"/>
                  </a:lnTo>
                  <a:lnTo>
                    <a:pt x="880" y="131"/>
                  </a:lnTo>
                  <a:lnTo>
                    <a:pt x="894" y="157"/>
                  </a:lnTo>
                  <a:lnTo>
                    <a:pt x="908" y="185"/>
                  </a:lnTo>
                  <a:lnTo>
                    <a:pt x="918" y="214"/>
                  </a:lnTo>
                  <a:lnTo>
                    <a:pt x="927" y="244"/>
                  </a:lnTo>
                  <a:lnTo>
                    <a:pt x="934" y="275"/>
                  </a:lnTo>
                  <a:lnTo>
                    <a:pt x="939" y="305"/>
                  </a:lnTo>
                  <a:lnTo>
                    <a:pt x="943" y="337"/>
                  </a:lnTo>
                  <a:lnTo>
                    <a:pt x="946" y="369"/>
                  </a:lnTo>
                  <a:lnTo>
                    <a:pt x="948" y="400"/>
                  </a:lnTo>
                  <a:lnTo>
                    <a:pt x="949" y="430"/>
                  </a:lnTo>
                  <a:lnTo>
                    <a:pt x="966" y="428"/>
                  </a:lnTo>
                  <a:lnTo>
                    <a:pt x="979" y="430"/>
                  </a:lnTo>
                  <a:lnTo>
                    <a:pt x="990" y="436"/>
                  </a:lnTo>
                  <a:lnTo>
                    <a:pt x="999" y="445"/>
                  </a:lnTo>
                  <a:lnTo>
                    <a:pt x="1005" y="458"/>
                  </a:lnTo>
                  <a:lnTo>
                    <a:pt x="1010" y="474"/>
                  </a:lnTo>
                  <a:lnTo>
                    <a:pt x="1013" y="492"/>
                  </a:lnTo>
                  <a:lnTo>
                    <a:pt x="1015" y="511"/>
                  </a:lnTo>
                  <a:lnTo>
                    <a:pt x="1016" y="533"/>
                  </a:lnTo>
                  <a:lnTo>
                    <a:pt x="1018" y="557"/>
                  </a:lnTo>
                  <a:lnTo>
                    <a:pt x="1015" y="581"/>
                  </a:lnTo>
                  <a:lnTo>
                    <a:pt x="1010" y="606"/>
                  </a:lnTo>
                  <a:lnTo>
                    <a:pt x="1001" y="633"/>
                  </a:lnTo>
                  <a:lnTo>
                    <a:pt x="991" y="658"/>
                  </a:lnTo>
                  <a:lnTo>
                    <a:pt x="979" y="682"/>
                  </a:lnTo>
                  <a:lnTo>
                    <a:pt x="965" y="701"/>
                  </a:lnTo>
                  <a:lnTo>
                    <a:pt x="949" y="717"/>
                  </a:lnTo>
                  <a:lnTo>
                    <a:pt x="934" y="727"/>
                  </a:lnTo>
                  <a:lnTo>
                    <a:pt x="919" y="730"/>
                  </a:lnTo>
                  <a:lnTo>
                    <a:pt x="909" y="728"/>
                  </a:lnTo>
                  <a:lnTo>
                    <a:pt x="900" y="723"/>
                  </a:lnTo>
                  <a:lnTo>
                    <a:pt x="881" y="763"/>
                  </a:lnTo>
                  <a:lnTo>
                    <a:pt x="861" y="802"/>
                  </a:lnTo>
                  <a:lnTo>
                    <a:pt x="837" y="838"/>
                  </a:lnTo>
                  <a:lnTo>
                    <a:pt x="813" y="872"/>
                  </a:lnTo>
                  <a:lnTo>
                    <a:pt x="785" y="902"/>
                  </a:lnTo>
                  <a:lnTo>
                    <a:pt x="776" y="915"/>
                  </a:lnTo>
                  <a:lnTo>
                    <a:pt x="770" y="929"/>
                  </a:lnTo>
                  <a:lnTo>
                    <a:pt x="768" y="945"/>
                  </a:lnTo>
                  <a:lnTo>
                    <a:pt x="771" y="966"/>
                  </a:lnTo>
                  <a:lnTo>
                    <a:pt x="778" y="985"/>
                  </a:lnTo>
                  <a:lnTo>
                    <a:pt x="790" y="1000"/>
                  </a:lnTo>
                  <a:lnTo>
                    <a:pt x="806" y="1012"/>
                  </a:lnTo>
                  <a:lnTo>
                    <a:pt x="823" y="1021"/>
                  </a:lnTo>
                  <a:lnTo>
                    <a:pt x="843" y="1023"/>
                  </a:lnTo>
                  <a:lnTo>
                    <a:pt x="924" y="1023"/>
                  </a:lnTo>
                  <a:lnTo>
                    <a:pt x="966" y="1026"/>
                  </a:lnTo>
                  <a:lnTo>
                    <a:pt x="1006" y="1034"/>
                  </a:lnTo>
                  <a:lnTo>
                    <a:pt x="1045" y="1049"/>
                  </a:lnTo>
                  <a:lnTo>
                    <a:pt x="1081" y="1067"/>
                  </a:lnTo>
                  <a:lnTo>
                    <a:pt x="1114" y="1091"/>
                  </a:lnTo>
                  <a:lnTo>
                    <a:pt x="1144" y="1118"/>
                  </a:lnTo>
                  <a:lnTo>
                    <a:pt x="1170" y="1149"/>
                  </a:lnTo>
                  <a:lnTo>
                    <a:pt x="1193" y="1184"/>
                  </a:lnTo>
                  <a:lnTo>
                    <a:pt x="1211" y="1221"/>
                  </a:lnTo>
                  <a:lnTo>
                    <a:pt x="1224" y="1261"/>
                  </a:lnTo>
                  <a:lnTo>
                    <a:pt x="1232" y="1303"/>
                  </a:lnTo>
                  <a:lnTo>
                    <a:pt x="1234" y="1347"/>
                  </a:lnTo>
                  <a:lnTo>
                    <a:pt x="1234" y="1437"/>
                  </a:lnTo>
                  <a:lnTo>
                    <a:pt x="1232" y="1460"/>
                  </a:lnTo>
                  <a:lnTo>
                    <a:pt x="1224" y="1483"/>
                  </a:lnTo>
                  <a:lnTo>
                    <a:pt x="1213" y="1501"/>
                  </a:lnTo>
                  <a:lnTo>
                    <a:pt x="1198" y="1516"/>
                  </a:lnTo>
                  <a:lnTo>
                    <a:pt x="1179" y="1529"/>
                  </a:lnTo>
                  <a:lnTo>
                    <a:pt x="1159" y="1537"/>
                  </a:lnTo>
                  <a:lnTo>
                    <a:pt x="1137" y="1540"/>
                  </a:lnTo>
                  <a:lnTo>
                    <a:pt x="98" y="1540"/>
                  </a:lnTo>
                  <a:lnTo>
                    <a:pt x="76" y="1537"/>
                  </a:lnTo>
                  <a:lnTo>
                    <a:pt x="55" y="1529"/>
                  </a:lnTo>
                  <a:lnTo>
                    <a:pt x="37" y="1516"/>
                  </a:lnTo>
                  <a:lnTo>
                    <a:pt x="22" y="1501"/>
                  </a:lnTo>
                  <a:lnTo>
                    <a:pt x="11" y="1483"/>
                  </a:lnTo>
                  <a:lnTo>
                    <a:pt x="3" y="1460"/>
                  </a:lnTo>
                  <a:lnTo>
                    <a:pt x="0" y="1437"/>
                  </a:lnTo>
                  <a:lnTo>
                    <a:pt x="0" y="1347"/>
                  </a:lnTo>
                  <a:lnTo>
                    <a:pt x="3" y="1303"/>
                  </a:lnTo>
                  <a:lnTo>
                    <a:pt x="12" y="1261"/>
                  </a:lnTo>
                  <a:lnTo>
                    <a:pt x="25" y="1222"/>
                  </a:lnTo>
                  <a:lnTo>
                    <a:pt x="43" y="1184"/>
                  </a:lnTo>
                  <a:lnTo>
                    <a:pt x="66" y="1150"/>
                  </a:lnTo>
                  <a:lnTo>
                    <a:pt x="92" y="1118"/>
                  </a:lnTo>
                  <a:lnTo>
                    <a:pt x="122" y="1092"/>
                  </a:lnTo>
                  <a:lnTo>
                    <a:pt x="154" y="1068"/>
                  </a:lnTo>
                  <a:lnTo>
                    <a:pt x="191" y="1049"/>
                  </a:lnTo>
                  <a:lnTo>
                    <a:pt x="228" y="1035"/>
                  </a:lnTo>
                  <a:lnTo>
                    <a:pt x="269" y="1027"/>
                  </a:lnTo>
                  <a:lnTo>
                    <a:pt x="312" y="1024"/>
                  </a:lnTo>
                  <a:lnTo>
                    <a:pt x="391" y="1024"/>
                  </a:lnTo>
                  <a:lnTo>
                    <a:pt x="412" y="1021"/>
                  </a:lnTo>
                  <a:lnTo>
                    <a:pt x="430" y="1013"/>
                  </a:lnTo>
                  <a:lnTo>
                    <a:pt x="445" y="1000"/>
                  </a:lnTo>
                  <a:lnTo>
                    <a:pt x="458" y="985"/>
                  </a:lnTo>
                  <a:lnTo>
                    <a:pt x="465" y="966"/>
                  </a:lnTo>
                  <a:lnTo>
                    <a:pt x="468" y="945"/>
                  </a:lnTo>
                  <a:lnTo>
                    <a:pt x="466" y="929"/>
                  </a:lnTo>
                  <a:lnTo>
                    <a:pt x="460" y="915"/>
                  </a:lnTo>
                  <a:lnTo>
                    <a:pt x="450" y="902"/>
                  </a:lnTo>
                  <a:lnTo>
                    <a:pt x="424" y="872"/>
                  </a:lnTo>
                  <a:lnTo>
                    <a:pt x="398" y="839"/>
                  </a:lnTo>
                  <a:lnTo>
                    <a:pt x="376" y="803"/>
                  </a:lnTo>
                  <a:lnTo>
                    <a:pt x="356" y="765"/>
                  </a:lnTo>
                  <a:lnTo>
                    <a:pt x="337" y="726"/>
                  </a:lnTo>
                  <a:lnTo>
                    <a:pt x="332" y="728"/>
                  </a:lnTo>
                  <a:lnTo>
                    <a:pt x="327" y="730"/>
                  </a:lnTo>
                  <a:lnTo>
                    <a:pt x="321" y="730"/>
                  </a:lnTo>
                  <a:lnTo>
                    <a:pt x="306" y="727"/>
                  </a:lnTo>
                  <a:lnTo>
                    <a:pt x="291" y="717"/>
                  </a:lnTo>
                  <a:lnTo>
                    <a:pt x="275" y="701"/>
                  </a:lnTo>
                  <a:lnTo>
                    <a:pt x="262" y="682"/>
                  </a:lnTo>
                  <a:lnTo>
                    <a:pt x="249" y="658"/>
                  </a:lnTo>
                  <a:lnTo>
                    <a:pt x="239" y="633"/>
                  </a:lnTo>
                  <a:lnTo>
                    <a:pt x="230" y="606"/>
                  </a:lnTo>
                  <a:lnTo>
                    <a:pt x="225" y="581"/>
                  </a:lnTo>
                  <a:lnTo>
                    <a:pt x="223" y="557"/>
                  </a:lnTo>
                  <a:lnTo>
                    <a:pt x="223" y="533"/>
                  </a:lnTo>
                  <a:lnTo>
                    <a:pt x="224" y="511"/>
                  </a:lnTo>
                  <a:lnTo>
                    <a:pt x="226" y="492"/>
                  </a:lnTo>
                  <a:lnTo>
                    <a:pt x="229" y="474"/>
                  </a:lnTo>
                  <a:lnTo>
                    <a:pt x="235" y="458"/>
                  </a:lnTo>
                  <a:lnTo>
                    <a:pt x="242" y="445"/>
                  </a:lnTo>
                  <a:lnTo>
                    <a:pt x="250" y="436"/>
                  </a:lnTo>
                  <a:lnTo>
                    <a:pt x="261" y="430"/>
                  </a:lnTo>
                  <a:lnTo>
                    <a:pt x="274" y="428"/>
                  </a:lnTo>
                  <a:lnTo>
                    <a:pt x="280" y="428"/>
                  </a:lnTo>
                  <a:lnTo>
                    <a:pt x="286" y="430"/>
                  </a:lnTo>
                  <a:lnTo>
                    <a:pt x="287" y="400"/>
                  </a:lnTo>
                  <a:lnTo>
                    <a:pt x="290" y="368"/>
                  </a:lnTo>
                  <a:lnTo>
                    <a:pt x="292" y="337"/>
                  </a:lnTo>
                  <a:lnTo>
                    <a:pt x="295" y="305"/>
                  </a:lnTo>
                  <a:lnTo>
                    <a:pt x="300" y="275"/>
                  </a:lnTo>
                  <a:lnTo>
                    <a:pt x="307" y="244"/>
                  </a:lnTo>
                  <a:lnTo>
                    <a:pt x="315" y="213"/>
                  </a:lnTo>
                  <a:lnTo>
                    <a:pt x="324" y="185"/>
                  </a:lnTo>
                  <a:lnTo>
                    <a:pt x="336" y="156"/>
                  </a:lnTo>
                  <a:lnTo>
                    <a:pt x="351" y="131"/>
                  </a:lnTo>
                  <a:lnTo>
                    <a:pt x="368" y="105"/>
                  </a:lnTo>
                  <a:lnTo>
                    <a:pt x="387" y="83"/>
                  </a:lnTo>
                  <a:lnTo>
                    <a:pt x="411" y="62"/>
                  </a:lnTo>
                  <a:lnTo>
                    <a:pt x="436" y="44"/>
                  </a:lnTo>
                  <a:lnTo>
                    <a:pt x="465" y="29"/>
                  </a:lnTo>
                  <a:lnTo>
                    <a:pt x="497" y="16"/>
                  </a:lnTo>
                  <a:lnTo>
                    <a:pt x="534" y="8"/>
                  </a:lnTo>
                  <a:lnTo>
                    <a:pt x="574" y="1"/>
                  </a:lnTo>
                  <a:lnTo>
                    <a:pt x="6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716"/>
            <p:cNvSpPr>
              <a:spLocks noEditPoints="1"/>
            </p:cNvSpPr>
            <p:nvPr/>
          </p:nvSpPr>
          <p:spPr bwMode="auto">
            <a:xfrm>
              <a:off x="7016" y="3486"/>
              <a:ext cx="70" cy="70"/>
            </a:xfrm>
            <a:custGeom>
              <a:avLst/>
              <a:gdLst>
                <a:gd name="T0" fmla="*/ 534 w 1113"/>
                <a:gd name="T1" fmla="*/ 479 h 1191"/>
                <a:gd name="T2" fmla="*/ 465 w 1113"/>
                <a:gd name="T3" fmla="*/ 585 h 1191"/>
                <a:gd name="T4" fmla="*/ 461 w 1113"/>
                <a:gd name="T5" fmla="*/ 697 h 1191"/>
                <a:gd name="T6" fmla="*/ 508 w 1113"/>
                <a:gd name="T7" fmla="*/ 730 h 1191"/>
                <a:gd name="T8" fmla="*/ 572 w 1113"/>
                <a:gd name="T9" fmla="*/ 688 h 1191"/>
                <a:gd name="T10" fmla="*/ 616 w 1113"/>
                <a:gd name="T11" fmla="*/ 581 h 1191"/>
                <a:gd name="T12" fmla="*/ 613 w 1113"/>
                <a:gd name="T13" fmla="*/ 0 h 1191"/>
                <a:gd name="T14" fmla="*/ 826 w 1113"/>
                <a:gd name="T15" fmla="*/ 42 h 1191"/>
                <a:gd name="T16" fmla="*/ 990 w 1113"/>
                <a:gd name="T17" fmla="*/ 159 h 1191"/>
                <a:gd name="T18" fmla="*/ 1089 w 1113"/>
                <a:gd name="T19" fmla="*/ 336 h 1191"/>
                <a:gd name="T20" fmla="*/ 1111 w 1113"/>
                <a:gd name="T21" fmla="*/ 554 h 1191"/>
                <a:gd name="T22" fmla="*/ 1058 w 1113"/>
                <a:gd name="T23" fmla="*/ 743 h 1191"/>
                <a:gd name="T24" fmla="*/ 946 w 1113"/>
                <a:gd name="T25" fmla="*/ 870 h 1191"/>
                <a:gd name="T26" fmla="*/ 788 w 1113"/>
                <a:gd name="T27" fmla="*/ 915 h 1191"/>
                <a:gd name="T28" fmla="*/ 686 w 1113"/>
                <a:gd name="T29" fmla="*/ 883 h 1191"/>
                <a:gd name="T30" fmla="*/ 614 w 1113"/>
                <a:gd name="T31" fmla="*/ 849 h 1191"/>
                <a:gd name="T32" fmla="*/ 484 w 1113"/>
                <a:gd name="T33" fmla="*/ 912 h 1191"/>
                <a:gd name="T34" fmla="*/ 350 w 1113"/>
                <a:gd name="T35" fmla="*/ 891 h 1191"/>
                <a:gd name="T36" fmla="*/ 266 w 1113"/>
                <a:gd name="T37" fmla="*/ 790 h 1191"/>
                <a:gd name="T38" fmla="*/ 247 w 1113"/>
                <a:gd name="T39" fmla="*/ 639 h 1191"/>
                <a:gd name="T40" fmla="*/ 285 w 1113"/>
                <a:gd name="T41" fmla="*/ 493 h 1191"/>
                <a:gd name="T42" fmla="*/ 372 w 1113"/>
                <a:gd name="T43" fmla="*/ 370 h 1191"/>
                <a:gd name="T44" fmla="*/ 508 w 1113"/>
                <a:gd name="T45" fmla="*/ 289 h 1191"/>
                <a:gd name="T46" fmla="*/ 676 w 1113"/>
                <a:gd name="T47" fmla="*/ 269 h 1191"/>
                <a:gd name="T48" fmla="*/ 813 w 1113"/>
                <a:gd name="T49" fmla="*/ 300 h 1191"/>
                <a:gd name="T50" fmla="*/ 801 w 1113"/>
                <a:gd name="T51" fmla="*/ 667 h 1191"/>
                <a:gd name="T52" fmla="*/ 800 w 1113"/>
                <a:gd name="T53" fmla="*/ 731 h 1191"/>
                <a:gd name="T54" fmla="*/ 807 w 1113"/>
                <a:gd name="T55" fmla="*/ 749 h 1191"/>
                <a:gd name="T56" fmla="*/ 815 w 1113"/>
                <a:gd name="T57" fmla="*/ 753 h 1191"/>
                <a:gd name="T58" fmla="*/ 861 w 1113"/>
                <a:gd name="T59" fmla="*/ 738 h 1191"/>
                <a:gd name="T60" fmla="*/ 914 w 1113"/>
                <a:gd name="T61" fmla="*/ 670 h 1191"/>
                <a:gd name="T62" fmla="*/ 944 w 1113"/>
                <a:gd name="T63" fmla="*/ 544 h 1191"/>
                <a:gd name="T64" fmla="*/ 924 w 1113"/>
                <a:gd name="T65" fmla="*/ 368 h 1191"/>
                <a:gd name="T66" fmla="*/ 836 w 1113"/>
                <a:gd name="T67" fmla="*/ 235 h 1191"/>
                <a:gd name="T68" fmla="*/ 688 w 1113"/>
                <a:gd name="T69" fmla="*/ 162 h 1191"/>
                <a:gd name="T70" fmla="*/ 521 w 1113"/>
                <a:gd name="T71" fmla="*/ 160 h 1191"/>
                <a:gd name="T72" fmla="*/ 381 w 1113"/>
                <a:gd name="T73" fmla="*/ 214 h 1191"/>
                <a:gd name="T74" fmla="*/ 264 w 1113"/>
                <a:gd name="T75" fmla="*/ 322 h 1191"/>
                <a:gd name="T76" fmla="*/ 189 w 1113"/>
                <a:gd name="T77" fmla="*/ 481 h 1191"/>
                <a:gd name="T78" fmla="*/ 173 w 1113"/>
                <a:gd name="T79" fmla="*/ 686 h 1191"/>
                <a:gd name="T80" fmla="*/ 223 w 1113"/>
                <a:gd name="T81" fmla="*/ 861 h 1191"/>
                <a:gd name="T82" fmla="*/ 335 w 1113"/>
                <a:gd name="T83" fmla="*/ 980 h 1191"/>
                <a:gd name="T84" fmla="*/ 499 w 1113"/>
                <a:gd name="T85" fmla="*/ 1034 h 1191"/>
                <a:gd name="T86" fmla="*/ 664 w 1113"/>
                <a:gd name="T87" fmla="*/ 1023 h 1191"/>
                <a:gd name="T88" fmla="*/ 774 w 1113"/>
                <a:gd name="T89" fmla="*/ 984 h 1191"/>
                <a:gd name="T90" fmla="*/ 796 w 1113"/>
                <a:gd name="T91" fmla="*/ 995 h 1191"/>
                <a:gd name="T92" fmla="*/ 829 w 1113"/>
                <a:gd name="T93" fmla="*/ 1107 h 1191"/>
                <a:gd name="T94" fmla="*/ 774 w 1113"/>
                <a:gd name="T95" fmla="*/ 1147 h 1191"/>
                <a:gd name="T96" fmla="*/ 611 w 1113"/>
                <a:gd name="T97" fmla="*/ 1186 h 1191"/>
                <a:gd name="T98" fmla="*/ 431 w 1113"/>
                <a:gd name="T99" fmla="*/ 1184 h 1191"/>
                <a:gd name="T100" fmla="*/ 268 w 1113"/>
                <a:gd name="T101" fmla="*/ 1129 h 1191"/>
                <a:gd name="T102" fmla="*/ 130 w 1113"/>
                <a:gd name="T103" fmla="*/ 1021 h 1191"/>
                <a:gd name="T104" fmla="*/ 35 w 1113"/>
                <a:gd name="T105" fmla="*/ 861 h 1191"/>
                <a:gd name="T106" fmla="*/ 0 w 1113"/>
                <a:gd name="T107" fmla="*/ 649 h 1191"/>
                <a:gd name="T108" fmla="*/ 41 w 1113"/>
                <a:gd name="T109" fmla="*/ 406 h 1191"/>
                <a:gd name="T110" fmla="*/ 157 w 1113"/>
                <a:gd name="T111" fmla="*/ 206 h 1191"/>
                <a:gd name="T112" fmla="*/ 332 w 1113"/>
                <a:gd name="T113" fmla="*/ 68 h 1191"/>
                <a:gd name="T114" fmla="*/ 553 w 1113"/>
                <a:gd name="T115" fmla="*/ 2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3" h="1191">
                  <a:moveTo>
                    <a:pt x="615" y="451"/>
                  </a:moveTo>
                  <a:lnTo>
                    <a:pt x="586" y="454"/>
                  </a:lnTo>
                  <a:lnTo>
                    <a:pt x="559" y="464"/>
                  </a:lnTo>
                  <a:lnTo>
                    <a:pt x="534" y="479"/>
                  </a:lnTo>
                  <a:lnTo>
                    <a:pt x="512" y="499"/>
                  </a:lnTo>
                  <a:lnTo>
                    <a:pt x="493" y="523"/>
                  </a:lnTo>
                  <a:lnTo>
                    <a:pt x="477" y="552"/>
                  </a:lnTo>
                  <a:lnTo>
                    <a:pt x="465" y="585"/>
                  </a:lnTo>
                  <a:lnTo>
                    <a:pt x="458" y="618"/>
                  </a:lnTo>
                  <a:lnTo>
                    <a:pt x="455" y="656"/>
                  </a:lnTo>
                  <a:lnTo>
                    <a:pt x="457" y="678"/>
                  </a:lnTo>
                  <a:lnTo>
                    <a:pt x="461" y="697"/>
                  </a:lnTo>
                  <a:lnTo>
                    <a:pt x="468" y="712"/>
                  </a:lnTo>
                  <a:lnTo>
                    <a:pt x="478" y="721"/>
                  </a:lnTo>
                  <a:lnTo>
                    <a:pt x="492" y="728"/>
                  </a:lnTo>
                  <a:lnTo>
                    <a:pt x="508" y="730"/>
                  </a:lnTo>
                  <a:lnTo>
                    <a:pt x="523" y="728"/>
                  </a:lnTo>
                  <a:lnTo>
                    <a:pt x="539" y="719"/>
                  </a:lnTo>
                  <a:lnTo>
                    <a:pt x="556" y="706"/>
                  </a:lnTo>
                  <a:lnTo>
                    <a:pt x="572" y="688"/>
                  </a:lnTo>
                  <a:lnTo>
                    <a:pt x="586" y="667"/>
                  </a:lnTo>
                  <a:lnTo>
                    <a:pt x="600" y="642"/>
                  </a:lnTo>
                  <a:lnTo>
                    <a:pt x="609" y="613"/>
                  </a:lnTo>
                  <a:lnTo>
                    <a:pt x="616" y="581"/>
                  </a:lnTo>
                  <a:lnTo>
                    <a:pt x="634" y="452"/>
                  </a:lnTo>
                  <a:lnTo>
                    <a:pt x="625" y="451"/>
                  </a:lnTo>
                  <a:lnTo>
                    <a:pt x="615" y="451"/>
                  </a:lnTo>
                  <a:close/>
                  <a:moveTo>
                    <a:pt x="613" y="0"/>
                  </a:moveTo>
                  <a:lnTo>
                    <a:pt x="670" y="2"/>
                  </a:lnTo>
                  <a:lnTo>
                    <a:pt x="725" y="10"/>
                  </a:lnTo>
                  <a:lnTo>
                    <a:pt x="777" y="24"/>
                  </a:lnTo>
                  <a:lnTo>
                    <a:pt x="826" y="42"/>
                  </a:lnTo>
                  <a:lnTo>
                    <a:pt x="871" y="64"/>
                  </a:lnTo>
                  <a:lnTo>
                    <a:pt x="914" y="92"/>
                  </a:lnTo>
                  <a:lnTo>
                    <a:pt x="954" y="124"/>
                  </a:lnTo>
                  <a:lnTo>
                    <a:pt x="990" y="159"/>
                  </a:lnTo>
                  <a:lnTo>
                    <a:pt x="1021" y="198"/>
                  </a:lnTo>
                  <a:lnTo>
                    <a:pt x="1048" y="241"/>
                  </a:lnTo>
                  <a:lnTo>
                    <a:pt x="1071" y="287"/>
                  </a:lnTo>
                  <a:lnTo>
                    <a:pt x="1089" y="336"/>
                  </a:lnTo>
                  <a:lnTo>
                    <a:pt x="1102" y="388"/>
                  </a:lnTo>
                  <a:lnTo>
                    <a:pt x="1110" y="443"/>
                  </a:lnTo>
                  <a:lnTo>
                    <a:pt x="1113" y="499"/>
                  </a:lnTo>
                  <a:lnTo>
                    <a:pt x="1111" y="554"/>
                  </a:lnTo>
                  <a:lnTo>
                    <a:pt x="1104" y="607"/>
                  </a:lnTo>
                  <a:lnTo>
                    <a:pt x="1092" y="656"/>
                  </a:lnTo>
                  <a:lnTo>
                    <a:pt x="1077" y="701"/>
                  </a:lnTo>
                  <a:lnTo>
                    <a:pt x="1058" y="743"/>
                  </a:lnTo>
                  <a:lnTo>
                    <a:pt x="1034" y="782"/>
                  </a:lnTo>
                  <a:lnTo>
                    <a:pt x="1009" y="816"/>
                  </a:lnTo>
                  <a:lnTo>
                    <a:pt x="978" y="844"/>
                  </a:lnTo>
                  <a:lnTo>
                    <a:pt x="946" y="870"/>
                  </a:lnTo>
                  <a:lnTo>
                    <a:pt x="910" y="889"/>
                  </a:lnTo>
                  <a:lnTo>
                    <a:pt x="872" y="903"/>
                  </a:lnTo>
                  <a:lnTo>
                    <a:pt x="832" y="912"/>
                  </a:lnTo>
                  <a:lnTo>
                    <a:pt x="788" y="915"/>
                  </a:lnTo>
                  <a:lnTo>
                    <a:pt x="758" y="913"/>
                  </a:lnTo>
                  <a:lnTo>
                    <a:pt x="732" y="907"/>
                  </a:lnTo>
                  <a:lnTo>
                    <a:pt x="707" y="897"/>
                  </a:lnTo>
                  <a:lnTo>
                    <a:pt x="686" y="883"/>
                  </a:lnTo>
                  <a:lnTo>
                    <a:pt x="668" y="866"/>
                  </a:lnTo>
                  <a:lnTo>
                    <a:pt x="652" y="845"/>
                  </a:lnTo>
                  <a:lnTo>
                    <a:pt x="640" y="822"/>
                  </a:lnTo>
                  <a:lnTo>
                    <a:pt x="614" y="849"/>
                  </a:lnTo>
                  <a:lnTo>
                    <a:pt x="585" y="873"/>
                  </a:lnTo>
                  <a:lnTo>
                    <a:pt x="554" y="891"/>
                  </a:lnTo>
                  <a:lnTo>
                    <a:pt x="520" y="905"/>
                  </a:lnTo>
                  <a:lnTo>
                    <a:pt x="484" y="912"/>
                  </a:lnTo>
                  <a:lnTo>
                    <a:pt x="447" y="915"/>
                  </a:lnTo>
                  <a:lnTo>
                    <a:pt x="412" y="912"/>
                  </a:lnTo>
                  <a:lnTo>
                    <a:pt x="380" y="903"/>
                  </a:lnTo>
                  <a:lnTo>
                    <a:pt x="350" y="891"/>
                  </a:lnTo>
                  <a:lnTo>
                    <a:pt x="324" y="872"/>
                  </a:lnTo>
                  <a:lnTo>
                    <a:pt x="301" y="849"/>
                  </a:lnTo>
                  <a:lnTo>
                    <a:pt x="282" y="822"/>
                  </a:lnTo>
                  <a:lnTo>
                    <a:pt x="266" y="790"/>
                  </a:lnTo>
                  <a:lnTo>
                    <a:pt x="254" y="755"/>
                  </a:lnTo>
                  <a:lnTo>
                    <a:pt x="247" y="717"/>
                  </a:lnTo>
                  <a:lnTo>
                    <a:pt x="245" y="676"/>
                  </a:lnTo>
                  <a:lnTo>
                    <a:pt x="247" y="639"/>
                  </a:lnTo>
                  <a:lnTo>
                    <a:pt x="251" y="602"/>
                  </a:lnTo>
                  <a:lnTo>
                    <a:pt x="259" y="564"/>
                  </a:lnTo>
                  <a:lnTo>
                    <a:pt x="271" y="528"/>
                  </a:lnTo>
                  <a:lnTo>
                    <a:pt x="285" y="493"/>
                  </a:lnTo>
                  <a:lnTo>
                    <a:pt x="302" y="460"/>
                  </a:lnTo>
                  <a:lnTo>
                    <a:pt x="323" y="428"/>
                  </a:lnTo>
                  <a:lnTo>
                    <a:pt x="346" y="398"/>
                  </a:lnTo>
                  <a:lnTo>
                    <a:pt x="372" y="370"/>
                  </a:lnTo>
                  <a:lnTo>
                    <a:pt x="402" y="345"/>
                  </a:lnTo>
                  <a:lnTo>
                    <a:pt x="435" y="323"/>
                  </a:lnTo>
                  <a:lnTo>
                    <a:pt x="469" y="304"/>
                  </a:lnTo>
                  <a:lnTo>
                    <a:pt x="508" y="289"/>
                  </a:lnTo>
                  <a:lnTo>
                    <a:pt x="549" y="277"/>
                  </a:lnTo>
                  <a:lnTo>
                    <a:pt x="592" y="270"/>
                  </a:lnTo>
                  <a:lnTo>
                    <a:pt x="639" y="268"/>
                  </a:lnTo>
                  <a:lnTo>
                    <a:pt x="676" y="269"/>
                  </a:lnTo>
                  <a:lnTo>
                    <a:pt x="713" y="273"/>
                  </a:lnTo>
                  <a:lnTo>
                    <a:pt x="749" y="281"/>
                  </a:lnTo>
                  <a:lnTo>
                    <a:pt x="784" y="289"/>
                  </a:lnTo>
                  <a:lnTo>
                    <a:pt x="813" y="300"/>
                  </a:lnTo>
                  <a:lnTo>
                    <a:pt x="839" y="312"/>
                  </a:lnTo>
                  <a:lnTo>
                    <a:pt x="854" y="321"/>
                  </a:lnTo>
                  <a:lnTo>
                    <a:pt x="804" y="642"/>
                  </a:lnTo>
                  <a:lnTo>
                    <a:pt x="801" y="667"/>
                  </a:lnTo>
                  <a:lnTo>
                    <a:pt x="799" y="689"/>
                  </a:lnTo>
                  <a:lnTo>
                    <a:pt x="798" y="706"/>
                  </a:lnTo>
                  <a:lnTo>
                    <a:pt x="799" y="720"/>
                  </a:lnTo>
                  <a:lnTo>
                    <a:pt x="800" y="731"/>
                  </a:lnTo>
                  <a:lnTo>
                    <a:pt x="802" y="739"/>
                  </a:lnTo>
                  <a:lnTo>
                    <a:pt x="804" y="745"/>
                  </a:lnTo>
                  <a:lnTo>
                    <a:pt x="806" y="748"/>
                  </a:lnTo>
                  <a:lnTo>
                    <a:pt x="807" y="749"/>
                  </a:lnTo>
                  <a:lnTo>
                    <a:pt x="808" y="750"/>
                  </a:lnTo>
                  <a:lnTo>
                    <a:pt x="810" y="751"/>
                  </a:lnTo>
                  <a:lnTo>
                    <a:pt x="812" y="752"/>
                  </a:lnTo>
                  <a:lnTo>
                    <a:pt x="815" y="753"/>
                  </a:lnTo>
                  <a:lnTo>
                    <a:pt x="819" y="753"/>
                  </a:lnTo>
                  <a:lnTo>
                    <a:pt x="833" y="752"/>
                  </a:lnTo>
                  <a:lnTo>
                    <a:pt x="847" y="747"/>
                  </a:lnTo>
                  <a:lnTo>
                    <a:pt x="861" y="738"/>
                  </a:lnTo>
                  <a:lnTo>
                    <a:pt x="875" y="727"/>
                  </a:lnTo>
                  <a:lnTo>
                    <a:pt x="890" y="712"/>
                  </a:lnTo>
                  <a:lnTo>
                    <a:pt x="902" y="693"/>
                  </a:lnTo>
                  <a:lnTo>
                    <a:pt x="914" y="670"/>
                  </a:lnTo>
                  <a:lnTo>
                    <a:pt x="924" y="645"/>
                  </a:lnTo>
                  <a:lnTo>
                    <a:pt x="934" y="615"/>
                  </a:lnTo>
                  <a:lnTo>
                    <a:pt x="940" y="582"/>
                  </a:lnTo>
                  <a:lnTo>
                    <a:pt x="944" y="544"/>
                  </a:lnTo>
                  <a:lnTo>
                    <a:pt x="946" y="504"/>
                  </a:lnTo>
                  <a:lnTo>
                    <a:pt x="943" y="456"/>
                  </a:lnTo>
                  <a:lnTo>
                    <a:pt x="936" y="411"/>
                  </a:lnTo>
                  <a:lnTo>
                    <a:pt x="924" y="368"/>
                  </a:lnTo>
                  <a:lnTo>
                    <a:pt x="908" y="330"/>
                  </a:lnTo>
                  <a:lnTo>
                    <a:pt x="888" y="294"/>
                  </a:lnTo>
                  <a:lnTo>
                    <a:pt x="863" y="263"/>
                  </a:lnTo>
                  <a:lnTo>
                    <a:pt x="836" y="235"/>
                  </a:lnTo>
                  <a:lnTo>
                    <a:pt x="804" y="211"/>
                  </a:lnTo>
                  <a:lnTo>
                    <a:pt x="769" y="190"/>
                  </a:lnTo>
                  <a:lnTo>
                    <a:pt x="730" y="174"/>
                  </a:lnTo>
                  <a:lnTo>
                    <a:pt x="688" y="162"/>
                  </a:lnTo>
                  <a:lnTo>
                    <a:pt x="643" y="155"/>
                  </a:lnTo>
                  <a:lnTo>
                    <a:pt x="595" y="152"/>
                  </a:lnTo>
                  <a:lnTo>
                    <a:pt x="558" y="154"/>
                  </a:lnTo>
                  <a:lnTo>
                    <a:pt x="521" y="160"/>
                  </a:lnTo>
                  <a:lnTo>
                    <a:pt x="484" y="168"/>
                  </a:lnTo>
                  <a:lnTo>
                    <a:pt x="449" y="180"/>
                  </a:lnTo>
                  <a:lnTo>
                    <a:pt x="413" y="196"/>
                  </a:lnTo>
                  <a:lnTo>
                    <a:pt x="381" y="214"/>
                  </a:lnTo>
                  <a:lnTo>
                    <a:pt x="348" y="236"/>
                  </a:lnTo>
                  <a:lnTo>
                    <a:pt x="318" y="261"/>
                  </a:lnTo>
                  <a:lnTo>
                    <a:pt x="290" y="290"/>
                  </a:lnTo>
                  <a:lnTo>
                    <a:pt x="264" y="322"/>
                  </a:lnTo>
                  <a:lnTo>
                    <a:pt x="241" y="357"/>
                  </a:lnTo>
                  <a:lnTo>
                    <a:pt x="221" y="395"/>
                  </a:lnTo>
                  <a:lnTo>
                    <a:pt x="203" y="436"/>
                  </a:lnTo>
                  <a:lnTo>
                    <a:pt x="189" y="481"/>
                  </a:lnTo>
                  <a:lnTo>
                    <a:pt x="179" y="529"/>
                  </a:lnTo>
                  <a:lnTo>
                    <a:pt x="173" y="580"/>
                  </a:lnTo>
                  <a:lnTo>
                    <a:pt x="171" y="634"/>
                  </a:lnTo>
                  <a:lnTo>
                    <a:pt x="173" y="686"/>
                  </a:lnTo>
                  <a:lnTo>
                    <a:pt x="179" y="735"/>
                  </a:lnTo>
                  <a:lnTo>
                    <a:pt x="190" y="780"/>
                  </a:lnTo>
                  <a:lnTo>
                    <a:pt x="204" y="822"/>
                  </a:lnTo>
                  <a:lnTo>
                    <a:pt x="223" y="861"/>
                  </a:lnTo>
                  <a:lnTo>
                    <a:pt x="245" y="896"/>
                  </a:lnTo>
                  <a:lnTo>
                    <a:pt x="272" y="928"/>
                  </a:lnTo>
                  <a:lnTo>
                    <a:pt x="301" y="955"/>
                  </a:lnTo>
                  <a:lnTo>
                    <a:pt x="335" y="980"/>
                  </a:lnTo>
                  <a:lnTo>
                    <a:pt x="370" y="1000"/>
                  </a:lnTo>
                  <a:lnTo>
                    <a:pt x="410" y="1015"/>
                  </a:lnTo>
                  <a:lnTo>
                    <a:pt x="453" y="1026"/>
                  </a:lnTo>
                  <a:lnTo>
                    <a:pt x="499" y="1034"/>
                  </a:lnTo>
                  <a:lnTo>
                    <a:pt x="548" y="1036"/>
                  </a:lnTo>
                  <a:lnTo>
                    <a:pt x="586" y="1035"/>
                  </a:lnTo>
                  <a:lnTo>
                    <a:pt x="625" y="1030"/>
                  </a:lnTo>
                  <a:lnTo>
                    <a:pt x="664" y="1023"/>
                  </a:lnTo>
                  <a:lnTo>
                    <a:pt x="699" y="1013"/>
                  </a:lnTo>
                  <a:lnTo>
                    <a:pt x="733" y="1001"/>
                  </a:lnTo>
                  <a:lnTo>
                    <a:pt x="762" y="986"/>
                  </a:lnTo>
                  <a:lnTo>
                    <a:pt x="774" y="984"/>
                  </a:lnTo>
                  <a:lnTo>
                    <a:pt x="785" y="986"/>
                  </a:lnTo>
                  <a:lnTo>
                    <a:pt x="789" y="988"/>
                  </a:lnTo>
                  <a:lnTo>
                    <a:pt x="793" y="991"/>
                  </a:lnTo>
                  <a:lnTo>
                    <a:pt x="796" y="995"/>
                  </a:lnTo>
                  <a:lnTo>
                    <a:pt x="798" y="998"/>
                  </a:lnTo>
                  <a:lnTo>
                    <a:pt x="799" y="1003"/>
                  </a:lnTo>
                  <a:lnTo>
                    <a:pt x="828" y="1097"/>
                  </a:lnTo>
                  <a:lnTo>
                    <a:pt x="829" y="1107"/>
                  </a:lnTo>
                  <a:lnTo>
                    <a:pt x="827" y="1116"/>
                  </a:lnTo>
                  <a:lnTo>
                    <a:pt x="822" y="1124"/>
                  </a:lnTo>
                  <a:lnTo>
                    <a:pt x="813" y="1130"/>
                  </a:lnTo>
                  <a:lnTo>
                    <a:pt x="774" y="1147"/>
                  </a:lnTo>
                  <a:lnTo>
                    <a:pt x="735" y="1161"/>
                  </a:lnTo>
                  <a:lnTo>
                    <a:pt x="695" y="1173"/>
                  </a:lnTo>
                  <a:lnTo>
                    <a:pt x="654" y="1181"/>
                  </a:lnTo>
                  <a:lnTo>
                    <a:pt x="611" y="1186"/>
                  </a:lnTo>
                  <a:lnTo>
                    <a:pt x="565" y="1190"/>
                  </a:lnTo>
                  <a:lnTo>
                    <a:pt x="515" y="1191"/>
                  </a:lnTo>
                  <a:lnTo>
                    <a:pt x="472" y="1190"/>
                  </a:lnTo>
                  <a:lnTo>
                    <a:pt x="431" y="1184"/>
                  </a:lnTo>
                  <a:lnTo>
                    <a:pt x="388" y="1176"/>
                  </a:lnTo>
                  <a:lnTo>
                    <a:pt x="347" y="1163"/>
                  </a:lnTo>
                  <a:lnTo>
                    <a:pt x="306" y="1148"/>
                  </a:lnTo>
                  <a:lnTo>
                    <a:pt x="268" y="1129"/>
                  </a:lnTo>
                  <a:lnTo>
                    <a:pt x="230" y="1107"/>
                  </a:lnTo>
                  <a:lnTo>
                    <a:pt x="194" y="1081"/>
                  </a:lnTo>
                  <a:lnTo>
                    <a:pt x="162" y="1053"/>
                  </a:lnTo>
                  <a:lnTo>
                    <a:pt x="130" y="1021"/>
                  </a:lnTo>
                  <a:lnTo>
                    <a:pt x="102" y="986"/>
                  </a:lnTo>
                  <a:lnTo>
                    <a:pt x="76" y="948"/>
                  </a:lnTo>
                  <a:lnTo>
                    <a:pt x="54" y="906"/>
                  </a:lnTo>
                  <a:lnTo>
                    <a:pt x="35" y="861"/>
                  </a:lnTo>
                  <a:lnTo>
                    <a:pt x="20" y="812"/>
                  </a:lnTo>
                  <a:lnTo>
                    <a:pt x="8" y="762"/>
                  </a:lnTo>
                  <a:lnTo>
                    <a:pt x="2" y="706"/>
                  </a:lnTo>
                  <a:lnTo>
                    <a:pt x="0" y="649"/>
                  </a:lnTo>
                  <a:lnTo>
                    <a:pt x="2" y="585"/>
                  </a:lnTo>
                  <a:lnTo>
                    <a:pt x="10" y="523"/>
                  </a:lnTo>
                  <a:lnTo>
                    <a:pt x="23" y="463"/>
                  </a:lnTo>
                  <a:lnTo>
                    <a:pt x="41" y="406"/>
                  </a:lnTo>
                  <a:lnTo>
                    <a:pt x="63" y="350"/>
                  </a:lnTo>
                  <a:lnTo>
                    <a:pt x="90" y="300"/>
                  </a:lnTo>
                  <a:lnTo>
                    <a:pt x="121" y="251"/>
                  </a:lnTo>
                  <a:lnTo>
                    <a:pt x="157" y="206"/>
                  </a:lnTo>
                  <a:lnTo>
                    <a:pt x="195" y="165"/>
                  </a:lnTo>
                  <a:lnTo>
                    <a:pt x="237" y="128"/>
                  </a:lnTo>
                  <a:lnTo>
                    <a:pt x="283" y="95"/>
                  </a:lnTo>
                  <a:lnTo>
                    <a:pt x="332" y="68"/>
                  </a:lnTo>
                  <a:lnTo>
                    <a:pt x="383" y="43"/>
                  </a:lnTo>
                  <a:lnTo>
                    <a:pt x="437" y="24"/>
                  </a:lnTo>
                  <a:lnTo>
                    <a:pt x="494" y="10"/>
                  </a:lnTo>
                  <a:lnTo>
                    <a:pt x="553" y="2"/>
                  </a:lnTo>
                  <a:lnTo>
                    <a:pt x="6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717"/>
            <p:cNvSpPr>
              <a:spLocks noEditPoints="1"/>
            </p:cNvSpPr>
            <p:nvPr/>
          </p:nvSpPr>
          <p:spPr bwMode="auto">
            <a:xfrm>
              <a:off x="6912" y="3443"/>
              <a:ext cx="206" cy="163"/>
            </a:xfrm>
            <a:custGeom>
              <a:avLst/>
              <a:gdLst>
                <a:gd name="T0" fmla="*/ 339 w 3303"/>
                <a:gd name="T1" fmla="*/ 246 h 2777"/>
                <a:gd name="T2" fmla="*/ 237 w 3303"/>
                <a:gd name="T3" fmla="*/ 351 h 2777"/>
                <a:gd name="T4" fmla="*/ 211 w 3303"/>
                <a:gd name="T5" fmla="*/ 2312 h 2777"/>
                <a:gd name="T6" fmla="*/ 253 w 3303"/>
                <a:gd name="T7" fmla="*/ 2451 h 2777"/>
                <a:gd name="T8" fmla="*/ 359 w 3303"/>
                <a:gd name="T9" fmla="*/ 2539 h 2777"/>
                <a:gd name="T10" fmla="*/ 485 w 3303"/>
                <a:gd name="T11" fmla="*/ 2447 h 2777"/>
                <a:gd name="T12" fmla="*/ 649 w 3303"/>
                <a:gd name="T13" fmla="*/ 2365 h 2777"/>
                <a:gd name="T14" fmla="*/ 839 w 3303"/>
                <a:gd name="T15" fmla="*/ 2366 h 2777"/>
                <a:gd name="T16" fmla="*/ 1004 w 3303"/>
                <a:gd name="T17" fmla="*/ 2451 h 2777"/>
                <a:gd name="T18" fmla="*/ 1364 w 3303"/>
                <a:gd name="T19" fmla="*/ 2558 h 2777"/>
                <a:gd name="T20" fmla="*/ 1493 w 3303"/>
                <a:gd name="T21" fmla="*/ 2423 h 2777"/>
                <a:gd name="T22" fmla="*/ 1669 w 3303"/>
                <a:gd name="T23" fmla="*/ 2357 h 2777"/>
                <a:gd name="T24" fmla="*/ 1858 w 3303"/>
                <a:gd name="T25" fmla="*/ 2380 h 2777"/>
                <a:gd name="T26" fmla="*/ 2013 w 3303"/>
                <a:gd name="T27" fmla="*/ 2483 h 2777"/>
                <a:gd name="T28" fmla="*/ 2335 w 3303"/>
                <a:gd name="T29" fmla="*/ 2519 h 2777"/>
                <a:gd name="T30" fmla="*/ 2476 w 3303"/>
                <a:gd name="T31" fmla="*/ 2399 h 2777"/>
                <a:gd name="T32" fmla="*/ 2661 w 3303"/>
                <a:gd name="T33" fmla="*/ 2355 h 2777"/>
                <a:gd name="T34" fmla="*/ 2843 w 3303"/>
                <a:gd name="T35" fmla="*/ 2399 h 2777"/>
                <a:gd name="T36" fmla="*/ 2984 w 3303"/>
                <a:gd name="T37" fmla="*/ 2517 h 2777"/>
                <a:gd name="T38" fmla="*/ 3069 w 3303"/>
                <a:gd name="T39" fmla="*/ 2415 h 2777"/>
                <a:gd name="T40" fmla="*/ 3091 w 3303"/>
                <a:gd name="T41" fmla="*/ 465 h 2777"/>
                <a:gd name="T42" fmla="*/ 3045 w 3303"/>
                <a:gd name="T43" fmla="*/ 320 h 2777"/>
                <a:gd name="T44" fmla="*/ 2929 w 3303"/>
                <a:gd name="T45" fmla="*/ 232 h 2777"/>
                <a:gd name="T46" fmla="*/ 447 w 3303"/>
                <a:gd name="T47" fmla="*/ 0 h 2777"/>
                <a:gd name="T48" fmla="*/ 3006 w 3303"/>
                <a:gd name="T49" fmla="*/ 26 h 2777"/>
                <a:gd name="T50" fmla="*/ 3171 w 3303"/>
                <a:gd name="T51" fmla="*/ 135 h 2777"/>
                <a:gd name="T52" fmla="*/ 3277 w 3303"/>
                <a:gd name="T53" fmla="*/ 308 h 2777"/>
                <a:gd name="T54" fmla="*/ 3303 w 3303"/>
                <a:gd name="T55" fmla="*/ 2312 h 2777"/>
                <a:gd name="T56" fmla="*/ 3261 w 3303"/>
                <a:gd name="T57" fmla="*/ 2507 h 2777"/>
                <a:gd name="T58" fmla="*/ 3149 w 3303"/>
                <a:gd name="T59" fmla="*/ 2661 h 2777"/>
                <a:gd name="T60" fmla="*/ 2998 w 3303"/>
                <a:gd name="T61" fmla="*/ 2752 h 2777"/>
                <a:gd name="T62" fmla="*/ 2867 w 3303"/>
                <a:gd name="T63" fmla="*/ 2738 h 2777"/>
                <a:gd name="T64" fmla="*/ 2793 w 3303"/>
                <a:gd name="T65" fmla="*/ 2617 h 2777"/>
                <a:gd name="T66" fmla="*/ 2661 w 3303"/>
                <a:gd name="T67" fmla="*/ 2570 h 2777"/>
                <a:gd name="T68" fmla="*/ 2528 w 3303"/>
                <a:gd name="T69" fmla="*/ 2619 h 2777"/>
                <a:gd name="T70" fmla="*/ 2454 w 3303"/>
                <a:gd name="T71" fmla="*/ 2740 h 2777"/>
                <a:gd name="T72" fmla="*/ 1915 w 3303"/>
                <a:gd name="T73" fmla="*/ 2712 h 2777"/>
                <a:gd name="T74" fmla="*/ 1839 w 3303"/>
                <a:gd name="T75" fmla="*/ 2610 h 2777"/>
                <a:gd name="T76" fmla="*/ 1718 w 3303"/>
                <a:gd name="T77" fmla="*/ 2570 h 2777"/>
                <a:gd name="T78" fmla="*/ 1597 w 3303"/>
                <a:gd name="T79" fmla="*/ 2610 h 2777"/>
                <a:gd name="T80" fmla="*/ 1520 w 3303"/>
                <a:gd name="T81" fmla="*/ 2712 h 2777"/>
                <a:gd name="T82" fmla="*/ 949 w 3303"/>
                <a:gd name="T83" fmla="*/ 2740 h 2777"/>
                <a:gd name="T84" fmla="*/ 876 w 3303"/>
                <a:gd name="T85" fmla="*/ 2619 h 2777"/>
                <a:gd name="T86" fmla="*/ 742 w 3303"/>
                <a:gd name="T87" fmla="*/ 2570 h 2777"/>
                <a:gd name="T88" fmla="*/ 621 w 3303"/>
                <a:gd name="T89" fmla="*/ 2610 h 2777"/>
                <a:gd name="T90" fmla="*/ 545 w 3303"/>
                <a:gd name="T91" fmla="*/ 2712 h 2777"/>
                <a:gd name="T92" fmla="*/ 405 w 3303"/>
                <a:gd name="T93" fmla="*/ 2775 h 2777"/>
                <a:gd name="T94" fmla="*/ 236 w 3303"/>
                <a:gd name="T95" fmla="*/ 2720 h 2777"/>
                <a:gd name="T96" fmla="*/ 93 w 3303"/>
                <a:gd name="T97" fmla="*/ 2594 h 2777"/>
                <a:gd name="T98" fmla="*/ 11 w 3303"/>
                <a:gd name="T99" fmla="*/ 2415 h 2777"/>
                <a:gd name="T100" fmla="*/ 3 w 3303"/>
                <a:gd name="T101" fmla="*/ 411 h 2777"/>
                <a:gd name="T102" fmla="*/ 69 w 3303"/>
                <a:gd name="T103" fmla="*/ 215 h 2777"/>
                <a:gd name="T104" fmla="*/ 208 w 3303"/>
                <a:gd name="T105" fmla="*/ 72 h 2777"/>
                <a:gd name="T106" fmla="*/ 395 w 3303"/>
                <a:gd name="T107" fmla="*/ 3 h 2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03" h="2777">
                  <a:moveTo>
                    <a:pt x="447" y="219"/>
                  </a:moveTo>
                  <a:lnTo>
                    <a:pt x="409" y="222"/>
                  </a:lnTo>
                  <a:lnTo>
                    <a:pt x="373" y="232"/>
                  </a:lnTo>
                  <a:lnTo>
                    <a:pt x="339" y="246"/>
                  </a:lnTo>
                  <a:lnTo>
                    <a:pt x="307" y="267"/>
                  </a:lnTo>
                  <a:lnTo>
                    <a:pt x="280" y="291"/>
                  </a:lnTo>
                  <a:lnTo>
                    <a:pt x="257" y="320"/>
                  </a:lnTo>
                  <a:lnTo>
                    <a:pt x="237" y="351"/>
                  </a:lnTo>
                  <a:lnTo>
                    <a:pt x="223" y="387"/>
                  </a:lnTo>
                  <a:lnTo>
                    <a:pt x="214" y="424"/>
                  </a:lnTo>
                  <a:lnTo>
                    <a:pt x="211" y="465"/>
                  </a:lnTo>
                  <a:lnTo>
                    <a:pt x="211" y="2312"/>
                  </a:lnTo>
                  <a:lnTo>
                    <a:pt x="214" y="2349"/>
                  </a:lnTo>
                  <a:lnTo>
                    <a:pt x="222" y="2385"/>
                  </a:lnTo>
                  <a:lnTo>
                    <a:pt x="235" y="2419"/>
                  </a:lnTo>
                  <a:lnTo>
                    <a:pt x="253" y="2451"/>
                  </a:lnTo>
                  <a:lnTo>
                    <a:pt x="275" y="2479"/>
                  </a:lnTo>
                  <a:lnTo>
                    <a:pt x="299" y="2503"/>
                  </a:lnTo>
                  <a:lnTo>
                    <a:pt x="328" y="2523"/>
                  </a:lnTo>
                  <a:lnTo>
                    <a:pt x="359" y="2539"/>
                  </a:lnTo>
                  <a:lnTo>
                    <a:pt x="393" y="2551"/>
                  </a:lnTo>
                  <a:lnTo>
                    <a:pt x="421" y="2513"/>
                  </a:lnTo>
                  <a:lnTo>
                    <a:pt x="451" y="2478"/>
                  </a:lnTo>
                  <a:lnTo>
                    <a:pt x="485" y="2447"/>
                  </a:lnTo>
                  <a:lnTo>
                    <a:pt x="522" y="2420"/>
                  </a:lnTo>
                  <a:lnTo>
                    <a:pt x="562" y="2397"/>
                  </a:lnTo>
                  <a:lnTo>
                    <a:pt x="604" y="2379"/>
                  </a:lnTo>
                  <a:lnTo>
                    <a:pt x="649" y="2365"/>
                  </a:lnTo>
                  <a:lnTo>
                    <a:pt x="694" y="2357"/>
                  </a:lnTo>
                  <a:lnTo>
                    <a:pt x="742" y="2355"/>
                  </a:lnTo>
                  <a:lnTo>
                    <a:pt x="791" y="2357"/>
                  </a:lnTo>
                  <a:lnTo>
                    <a:pt x="839" y="2366"/>
                  </a:lnTo>
                  <a:lnTo>
                    <a:pt x="884" y="2380"/>
                  </a:lnTo>
                  <a:lnTo>
                    <a:pt x="927" y="2399"/>
                  </a:lnTo>
                  <a:lnTo>
                    <a:pt x="966" y="2423"/>
                  </a:lnTo>
                  <a:lnTo>
                    <a:pt x="1004" y="2451"/>
                  </a:lnTo>
                  <a:lnTo>
                    <a:pt x="1039" y="2483"/>
                  </a:lnTo>
                  <a:lnTo>
                    <a:pt x="1069" y="2519"/>
                  </a:lnTo>
                  <a:lnTo>
                    <a:pt x="1096" y="2558"/>
                  </a:lnTo>
                  <a:lnTo>
                    <a:pt x="1364" y="2558"/>
                  </a:lnTo>
                  <a:lnTo>
                    <a:pt x="1391" y="2519"/>
                  </a:lnTo>
                  <a:lnTo>
                    <a:pt x="1421" y="2483"/>
                  </a:lnTo>
                  <a:lnTo>
                    <a:pt x="1456" y="2451"/>
                  </a:lnTo>
                  <a:lnTo>
                    <a:pt x="1493" y="2423"/>
                  </a:lnTo>
                  <a:lnTo>
                    <a:pt x="1533" y="2399"/>
                  </a:lnTo>
                  <a:lnTo>
                    <a:pt x="1576" y="2380"/>
                  </a:lnTo>
                  <a:lnTo>
                    <a:pt x="1621" y="2366"/>
                  </a:lnTo>
                  <a:lnTo>
                    <a:pt x="1669" y="2357"/>
                  </a:lnTo>
                  <a:lnTo>
                    <a:pt x="1718" y="2355"/>
                  </a:lnTo>
                  <a:lnTo>
                    <a:pt x="1767" y="2357"/>
                  </a:lnTo>
                  <a:lnTo>
                    <a:pt x="1813" y="2366"/>
                  </a:lnTo>
                  <a:lnTo>
                    <a:pt x="1858" y="2380"/>
                  </a:lnTo>
                  <a:lnTo>
                    <a:pt x="1901" y="2399"/>
                  </a:lnTo>
                  <a:lnTo>
                    <a:pt x="1942" y="2423"/>
                  </a:lnTo>
                  <a:lnTo>
                    <a:pt x="1978" y="2451"/>
                  </a:lnTo>
                  <a:lnTo>
                    <a:pt x="2013" y="2483"/>
                  </a:lnTo>
                  <a:lnTo>
                    <a:pt x="2043" y="2519"/>
                  </a:lnTo>
                  <a:lnTo>
                    <a:pt x="2070" y="2558"/>
                  </a:lnTo>
                  <a:lnTo>
                    <a:pt x="2307" y="2558"/>
                  </a:lnTo>
                  <a:lnTo>
                    <a:pt x="2335" y="2519"/>
                  </a:lnTo>
                  <a:lnTo>
                    <a:pt x="2365" y="2483"/>
                  </a:lnTo>
                  <a:lnTo>
                    <a:pt x="2399" y="2451"/>
                  </a:lnTo>
                  <a:lnTo>
                    <a:pt x="2437" y="2423"/>
                  </a:lnTo>
                  <a:lnTo>
                    <a:pt x="2476" y="2399"/>
                  </a:lnTo>
                  <a:lnTo>
                    <a:pt x="2519" y="2380"/>
                  </a:lnTo>
                  <a:lnTo>
                    <a:pt x="2565" y="2366"/>
                  </a:lnTo>
                  <a:lnTo>
                    <a:pt x="2612" y="2357"/>
                  </a:lnTo>
                  <a:lnTo>
                    <a:pt x="2661" y="2355"/>
                  </a:lnTo>
                  <a:lnTo>
                    <a:pt x="2708" y="2357"/>
                  </a:lnTo>
                  <a:lnTo>
                    <a:pt x="2755" y="2366"/>
                  </a:lnTo>
                  <a:lnTo>
                    <a:pt x="2800" y="2380"/>
                  </a:lnTo>
                  <a:lnTo>
                    <a:pt x="2843" y="2399"/>
                  </a:lnTo>
                  <a:lnTo>
                    <a:pt x="2882" y="2423"/>
                  </a:lnTo>
                  <a:lnTo>
                    <a:pt x="2920" y="2450"/>
                  </a:lnTo>
                  <a:lnTo>
                    <a:pt x="2954" y="2482"/>
                  </a:lnTo>
                  <a:lnTo>
                    <a:pt x="2984" y="2517"/>
                  </a:lnTo>
                  <a:lnTo>
                    <a:pt x="3011" y="2497"/>
                  </a:lnTo>
                  <a:lnTo>
                    <a:pt x="3033" y="2472"/>
                  </a:lnTo>
                  <a:lnTo>
                    <a:pt x="3054" y="2445"/>
                  </a:lnTo>
                  <a:lnTo>
                    <a:pt x="3069" y="2415"/>
                  </a:lnTo>
                  <a:lnTo>
                    <a:pt x="3081" y="2382"/>
                  </a:lnTo>
                  <a:lnTo>
                    <a:pt x="3088" y="2348"/>
                  </a:lnTo>
                  <a:lnTo>
                    <a:pt x="3091" y="2312"/>
                  </a:lnTo>
                  <a:lnTo>
                    <a:pt x="3091" y="465"/>
                  </a:lnTo>
                  <a:lnTo>
                    <a:pt x="3088" y="424"/>
                  </a:lnTo>
                  <a:lnTo>
                    <a:pt x="3079" y="387"/>
                  </a:lnTo>
                  <a:lnTo>
                    <a:pt x="3065" y="351"/>
                  </a:lnTo>
                  <a:lnTo>
                    <a:pt x="3045" y="320"/>
                  </a:lnTo>
                  <a:lnTo>
                    <a:pt x="3022" y="291"/>
                  </a:lnTo>
                  <a:lnTo>
                    <a:pt x="2994" y="267"/>
                  </a:lnTo>
                  <a:lnTo>
                    <a:pt x="2963" y="246"/>
                  </a:lnTo>
                  <a:lnTo>
                    <a:pt x="2929" y="232"/>
                  </a:lnTo>
                  <a:lnTo>
                    <a:pt x="2894" y="222"/>
                  </a:lnTo>
                  <a:lnTo>
                    <a:pt x="2855" y="219"/>
                  </a:lnTo>
                  <a:lnTo>
                    <a:pt x="447" y="219"/>
                  </a:lnTo>
                  <a:close/>
                  <a:moveTo>
                    <a:pt x="447" y="0"/>
                  </a:moveTo>
                  <a:lnTo>
                    <a:pt x="2855" y="0"/>
                  </a:lnTo>
                  <a:lnTo>
                    <a:pt x="2907" y="3"/>
                  </a:lnTo>
                  <a:lnTo>
                    <a:pt x="2958" y="11"/>
                  </a:lnTo>
                  <a:lnTo>
                    <a:pt x="3006" y="26"/>
                  </a:lnTo>
                  <a:lnTo>
                    <a:pt x="3051" y="46"/>
                  </a:lnTo>
                  <a:lnTo>
                    <a:pt x="3094" y="72"/>
                  </a:lnTo>
                  <a:lnTo>
                    <a:pt x="3135" y="101"/>
                  </a:lnTo>
                  <a:lnTo>
                    <a:pt x="3171" y="135"/>
                  </a:lnTo>
                  <a:lnTo>
                    <a:pt x="3204" y="173"/>
                  </a:lnTo>
                  <a:lnTo>
                    <a:pt x="3233" y="215"/>
                  </a:lnTo>
                  <a:lnTo>
                    <a:pt x="3257" y="260"/>
                  </a:lnTo>
                  <a:lnTo>
                    <a:pt x="3277" y="308"/>
                  </a:lnTo>
                  <a:lnTo>
                    <a:pt x="3291" y="358"/>
                  </a:lnTo>
                  <a:lnTo>
                    <a:pt x="3299" y="411"/>
                  </a:lnTo>
                  <a:lnTo>
                    <a:pt x="3303" y="465"/>
                  </a:lnTo>
                  <a:lnTo>
                    <a:pt x="3303" y="2312"/>
                  </a:lnTo>
                  <a:lnTo>
                    <a:pt x="3300" y="2364"/>
                  </a:lnTo>
                  <a:lnTo>
                    <a:pt x="3292" y="2414"/>
                  </a:lnTo>
                  <a:lnTo>
                    <a:pt x="3279" y="2462"/>
                  </a:lnTo>
                  <a:lnTo>
                    <a:pt x="3261" y="2507"/>
                  </a:lnTo>
                  <a:lnTo>
                    <a:pt x="3239" y="2550"/>
                  </a:lnTo>
                  <a:lnTo>
                    <a:pt x="3212" y="2590"/>
                  </a:lnTo>
                  <a:lnTo>
                    <a:pt x="3183" y="2627"/>
                  </a:lnTo>
                  <a:lnTo>
                    <a:pt x="3149" y="2661"/>
                  </a:lnTo>
                  <a:lnTo>
                    <a:pt x="3113" y="2691"/>
                  </a:lnTo>
                  <a:lnTo>
                    <a:pt x="3073" y="2716"/>
                  </a:lnTo>
                  <a:lnTo>
                    <a:pt x="3036" y="2736"/>
                  </a:lnTo>
                  <a:lnTo>
                    <a:pt x="2998" y="2752"/>
                  </a:lnTo>
                  <a:lnTo>
                    <a:pt x="2957" y="2764"/>
                  </a:lnTo>
                  <a:lnTo>
                    <a:pt x="2915" y="2772"/>
                  </a:lnTo>
                  <a:lnTo>
                    <a:pt x="2872" y="2775"/>
                  </a:lnTo>
                  <a:lnTo>
                    <a:pt x="2867" y="2738"/>
                  </a:lnTo>
                  <a:lnTo>
                    <a:pt x="2855" y="2703"/>
                  </a:lnTo>
                  <a:lnTo>
                    <a:pt x="2839" y="2672"/>
                  </a:lnTo>
                  <a:lnTo>
                    <a:pt x="2818" y="2643"/>
                  </a:lnTo>
                  <a:lnTo>
                    <a:pt x="2793" y="2617"/>
                  </a:lnTo>
                  <a:lnTo>
                    <a:pt x="2764" y="2597"/>
                  </a:lnTo>
                  <a:lnTo>
                    <a:pt x="2732" y="2583"/>
                  </a:lnTo>
                  <a:lnTo>
                    <a:pt x="2697" y="2573"/>
                  </a:lnTo>
                  <a:lnTo>
                    <a:pt x="2661" y="2570"/>
                  </a:lnTo>
                  <a:lnTo>
                    <a:pt x="2624" y="2573"/>
                  </a:lnTo>
                  <a:lnTo>
                    <a:pt x="2589" y="2583"/>
                  </a:lnTo>
                  <a:lnTo>
                    <a:pt x="2558" y="2598"/>
                  </a:lnTo>
                  <a:lnTo>
                    <a:pt x="2528" y="2619"/>
                  </a:lnTo>
                  <a:lnTo>
                    <a:pt x="2503" y="2643"/>
                  </a:lnTo>
                  <a:lnTo>
                    <a:pt x="2481" y="2673"/>
                  </a:lnTo>
                  <a:lnTo>
                    <a:pt x="2465" y="2704"/>
                  </a:lnTo>
                  <a:lnTo>
                    <a:pt x="2454" y="2740"/>
                  </a:lnTo>
                  <a:lnTo>
                    <a:pt x="2449" y="2777"/>
                  </a:lnTo>
                  <a:lnTo>
                    <a:pt x="1928" y="2777"/>
                  </a:lnTo>
                  <a:lnTo>
                    <a:pt x="1924" y="2744"/>
                  </a:lnTo>
                  <a:lnTo>
                    <a:pt x="1915" y="2712"/>
                  </a:lnTo>
                  <a:lnTo>
                    <a:pt x="1901" y="2682"/>
                  </a:lnTo>
                  <a:lnTo>
                    <a:pt x="1884" y="2655"/>
                  </a:lnTo>
                  <a:lnTo>
                    <a:pt x="1863" y="2630"/>
                  </a:lnTo>
                  <a:lnTo>
                    <a:pt x="1839" y="2610"/>
                  </a:lnTo>
                  <a:lnTo>
                    <a:pt x="1811" y="2593"/>
                  </a:lnTo>
                  <a:lnTo>
                    <a:pt x="1782" y="2580"/>
                  </a:lnTo>
                  <a:lnTo>
                    <a:pt x="1750" y="2573"/>
                  </a:lnTo>
                  <a:lnTo>
                    <a:pt x="1718" y="2570"/>
                  </a:lnTo>
                  <a:lnTo>
                    <a:pt x="1684" y="2573"/>
                  </a:lnTo>
                  <a:lnTo>
                    <a:pt x="1653" y="2580"/>
                  </a:lnTo>
                  <a:lnTo>
                    <a:pt x="1623" y="2593"/>
                  </a:lnTo>
                  <a:lnTo>
                    <a:pt x="1597" y="2610"/>
                  </a:lnTo>
                  <a:lnTo>
                    <a:pt x="1572" y="2630"/>
                  </a:lnTo>
                  <a:lnTo>
                    <a:pt x="1551" y="2655"/>
                  </a:lnTo>
                  <a:lnTo>
                    <a:pt x="1533" y="2682"/>
                  </a:lnTo>
                  <a:lnTo>
                    <a:pt x="1520" y="2712"/>
                  </a:lnTo>
                  <a:lnTo>
                    <a:pt x="1510" y="2744"/>
                  </a:lnTo>
                  <a:lnTo>
                    <a:pt x="1506" y="2777"/>
                  </a:lnTo>
                  <a:lnTo>
                    <a:pt x="955" y="2777"/>
                  </a:lnTo>
                  <a:lnTo>
                    <a:pt x="949" y="2740"/>
                  </a:lnTo>
                  <a:lnTo>
                    <a:pt x="938" y="2704"/>
                  </a:lnTo>
                  <a:lnTo>
                    <a:pt x="921" y="2673"/>
                  </a:lnTo>
                  <a:lnTo>
                    <a:pt x="900" y="2643"/>
                  </a:lnTo>
                  <a:lnTo>
                    <a:pt x="876" y="2619"/>
                  </a:lnTo>
                  <a:lnTo>
                    <a:pt x="846" y="2598"/>
                  </a:lnTo>
                  <a:lnTo>
                    <a:pt x="815" y="2583"/>
                  </a:lnTo>
                  <a:lnTo>
                    <a:pt x="779" y="2573"/>
                  </a:lnTo>
                  <a:lnTo>
                    <a:pt x="742" y="2570"/>
                  </a:lnTo>
                  <a:lnTo>
                    <a:pt x="710" y="2573"/>
                  </a:lnTo>
                  <a:lnTo>
                    <a:pt x="678" y="2580"/>
                  </a:lnTo>
                  <a:lnTo>
                    <a:pt x="649" y="2593"/>
                  </a:lnTo>
                  <a:lnTo>
                    <a:pt x="621" y="2610"/>
                  </a:lnTo>
                  <a:lnTo>
                    <a:pt x="597" y="2630"/>
                  </a:lnTo>
                  <a:lnTo>
                    <a:pt x="576" y="2655"/>
                  </a:lnTo>
                  <a:lnTo>
                    <a:pt x="558" y="2682"/>
                  </a:lnTo>
                  <a:lnTo>
                    <a:pt x="545" y="2712"/>
                  </a:lnTo>
                  <a:lnTo>
                    <a:pt x="536" y="2744"/>
                  </a:lnTo>
                  <a:lnTo>
                    <a:pt x="531" y="2777"/>
                  </a:lnTo>
                  <a:lnTo>
                    <a:pt x="447" y="2777"/>
                  </a:lnTo>
                  <a:lnTo>
                    <a:pt x="405" y="2775"/>
                  </a:lnTo>
                  <a:lnTo>
                    <a:pt x="366" y="2768"/>
                  </a:lnTo>
                  <a:lnTo>
                    <a:pt x="326" y="2758"/>
                  </a:lnTo>
                  <a:lnTo>
                    <a:pt x="280" y="2741"/>
                  </a:lnTo>
                  <a:lnTo>
                    <a:pt x="236" y="2720"/>
                  </a:lnTo>
                  <a:lnTo>
                    <a:pt x="195" y="2695"/>
                  </a:lnTo>
                  <a:lnTo>
                    <a:pt x="158" y="2665"/>
                  </a:lnTo>
                  <a:lnTo>
                    <a:pt x="123" y="2631"/>
                  </a:lnTo>
                  <a:lnTo>
                    <a:pt x="93" y="2594"/>
                  </a:lnTo>
                  <a:lnTo>
                    <a:pt x="65" y="2554"/>
                  </a:lnTo>
                  <a:lnTo>
                    <a:pt x="43" y="2510"/>
                  </a:lnTo>
                  <a:lnTo>
                    <a:pt x="24" y="2464"/>
                  </a:lnTo>
                  <a:lnTo>
                    <a:pt x="11" y="2415"/>
                  </a:lnTo>
                  <a:lnTo>
                    <a:pt x="3" y="2364"/>
                  </a:lnTo>
                  <a:lnTo>
                    <a:pt x="0" y="2312"/>
                  </a:lnTo>
                  <a:lnTo>
                    <a:pt x="0" y="465"/>
                  </a:lnTo>
                  <a:lnTo>
                    <a:pt x="3" y="411"/>
                  </a:lnTo>
                  <a:lnTo>
                    <a:pt x="12" y="358"/>
                  </a:lnTo>
                  <a:lnTo>
                    <a:pt x="26" y="308"/>
                  </a:lnTo>
                  <a:lnTo>
                    <a:pt x="46" y="260"/>
                  </a:lnTo>
                  <a:lnTo>
                    <a:pt x="69" y="215"/>
                  </a:lnTo>
                  <a:lnTo>
                    <a:pt x="98" y="173"/>
                  </a:lnTo>
                  <a:lnTo>
                    <a:pt x="131" y="135"/>
                  </a:lnTo>
                  <a:lnTo>
                    <a:pt x="167" y="101"/>
                  </a:lnTo>
                  <a:lnTo>
                    <a:pt x="208" y="72"/>
                  </a:lnTo>
                  <a:lnTo>
                    <a:pt x="250" y="46"/>
                  </a:lnTo>
                  <a:lnTo>
                    <a:pt x="296" y="26"/>
                  </a:lnTo>
                  <a:lnTo>
                    <a:pt x="344" y="11"/>
                  </a:lnTo>
                  <a:lnTo>
                    <a:pt x="395" y="3"/>
                  </a:lnTo>
                  <a:lnTo>
                    <a:pt x="4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 name="Group 1584"/>
          <p:cNvGrpSpPr>
            <a:grpSpLocks noChangeAspect="1"/>
          </p:cNvGrpSpPr>
          <p:nvPr/>
        </p:nvGrpSpPr>
        <p:grpSpPr bwMode="auto">
          <a:xfrm>
            <a:off x="10068743" y="3676974"/>
            <a:ext cx="392050" cy="391360"/>
            <a:chOff x="587" y="3409"/>
            <a:chExt cx="569" cy="568"/>
          </a:xfrm>
          <a:solidFill>
            <a:schemeClr val="accent3"/>
          </a:solidFill>
        </p:grpSpPr>
        <p:sp>
          <p:nvSpPr>
            <p:cNvPr id="12" name="Freeform 1586"/>
            <p:cNvSpPr>
              <a:spLocks/>
            </p:cNvSpPr>
            <p:nvPr/>
          </p:nvSpPr>
          <p:spPr bwMode="auto">
            <a:xfrm>
              <a:off x="587" y="3463"/>
              <a:ext cx="514" cy="514"/>
            </a:xfrm>
            <a:custGeom>
              <a:avLst/>
              <a:gdLst>
                <a:gd name="T0" fmla="*/ 641 w 3087"/>
                <a:gd name="T1" fmla="*/ 14 h 3085"/>
                <a:gd name="T2" fmla="*/ 747 w 3087"/>
                <a:gd name="T3" fmla="*/ 82 h 3085"/>
                <a:gd name="T4" fmla="*/ 1052 w 3087"/>
                <a:gd name="T5" fmla="*/ 385 h 3085"/>
                <a:gd name="T6" fmla="*/ 1206 w 3087"/>
                <a:gd name="T7" fmla="*/ 558 h 3085"/>
                <a:gd name="T8" fmla="*/ 1238 w 3087"/>
                <a:gd name="T9" fmla="*/ 671 h 3085"/>
                <a:gd name="T10" fmla="*/ 1206 w 3087"/>
                <a:gd name="T11" fmla="*/ 783 h 3085"/>
                <a:gd name="T12" fmla="*/ 1027 w 3087"/>
                <a:gd name="T13" fmla="*/ 980 h 3085"/>
                <a:gd name="T14" fmla="*/ 884 w 3087"/>
                <a:gd name="T15" fmla="*/ 1130 h 3085"/>
                <a:gd name="T16" fmla="*/ 888 w 3087"/>
                <a:gd name="T17" fmla="*/ 1171 h 3085"/>
                <a:gd name="T18" fmla="*/ 989 w 3087"/>
                <a:gd name="T19" fmla="*/ 1361 h 3085"/>
                <a:gd name="T20" fmla="*/ 1115 w 3087"/>
                <a:gd name="T21" fmla="*/ 1534 h 3085"/>
                <a:gd name="T22" fmla="*/ 1330 w 3087"/>
                <a:gd name="T23" fmla="*/ 1773 h 3085"/>
                <a:gd name="T24" fmla="*/ 1571 w 3087"/>
                <a:gd name="T25" fmla="*/ 1985 h 3085"/>
                <a:gd name="T26" fmla="*/ 1788 w 3087"/>
                <a:gd name="T27" fmla="*/ 2133 h 3085"/>
                <a:gd name="T28" fmla="*/ 1913 w 3087"/>
                <a:gd name="T29" fmla="*/ 2196 h 3085"/>
                <a:gd name="T30" fmla="*/ 1957 w 3087"/>
                <a:gd name="T31" fmla="*/ 2202 h 3085"/>
                <a:gd name="T32" fmla="*/ 2108 w 3087"/>
                <a:gd name="T33" fmla="*/ 2056 h 3085"/>
                <a:gd name="T34" fmla="*/ 2298 w 3087"/>
                <a:gd name="T35" fmla="*/ 1881 h 3085"/>
                <a:gd name="T36" fmla="*/ 2398 w 3087"/>
                <a:gd name="T37" fmla="*/ 1848 h 3085"/>
                <a:gd name="T38" fmla="*/ 2500 w 3087"/>
                <a:gd name="T39" fmla="*/ 1865 h 3085"/>
                <a:gd name="T40" fmla="*/ 2597 w 3087"/>
                <a:gd name="T41" fmla="*/ 1930 h 3085"/>
                <a:gd name="T42" fmla="*/ 3031 w 3087"/>
                <a:gd name="T43" fmla="*/ 2367 h 3085"/>
                <a:gd name="T44" fmla="*/ 3081 w 3087"/>
                <a:gd name="T45" fmla="*/ 2467 h 3085"/>
                <a:gd name="T46" fmla="*/ 3081 w 3087"/>
                <a:gd name="T47" fmla="*/ 2571 h 3085"/>
                <a:gd name="T48" fmla="*/ 3030 w 3087"/>
                <a:gd name="T49" fmla="*/ 2671 h 3085"/>
                <a:gd name="T50" fmla="*/ 2885 w 3087"/>
                <a:gd name="T51" fmla="*/ 2818 h 3085"/>
                <a:gd name="T52" fmla="*/ 2735 w 3087"/>
                <a:gd name="T53" fmla="*/ 2973 h 3085"/>
                <a:gd name="T54" fmla="*/ 2615 w 3087"/>
                <a:gd name="T55" fmla="*/ 3049 h 3085"/>
                <a:gd name="T56" fmla="*/ 2479 w 3087"/>
                <a:gd name="T57" fmla="*/ 3083 h 3085"/>
                <a:gd name="T58" fmla="*/ 2299 w 3087"/>
                <a:gd name="T59" fmla="*/ 3076 h 3085"/>
                <a:gd name="T60" fmla="*/ 2062 w 3087"/>
                <a:gd name="T61" fmla="*/ 3025 h 3085"/>
                <a:gd name="T62" fmla="*/ 1834 w 3087"/>
                <a:gd name="T63" fmla="*/ 2938 h 3085"/>
                <a:gd name="T64" fmla="*/ 1529 w 3087"/>
                <a:gd name="T65" fmla="*/ 2780 h 3085"/>
                <a:gd name="T66" fmla="*/ 1205 w 3087"/>
                <a:gd name="T67" fmla="*/ 2565 h 3085"/>
                <a:gd name="T68" fmla="*/ 909 w 3087"/>
                <a:gd name="T69" fmla="*/ 2314 h 3085"/>
                <a:gd name="T70" fmla="*/ 640 w 3087"/>
                <a:gd name="T71" fmla="*/ 2028 h 3085"/>
                <a:gd name="T72" fmla="*/ 424 w 3087"/>
                <a:gd name="T73" fmla="*/ 1745 h 3085"/>
                <a:gd name="T74" fmla="*/ 240 w 3087"/>
                <a:gd name="T75" fmla="*/ 1443 h 3085"/>
                <a:gd name="T76" fmla="*/ 93 w 3087"/>
                <a:gd name="T77" fmla="*/ 1118 h 3085"/>
                <a:gd name="T78" fmla="*/ 28 w 3087"/>
                <a:gd name="T79" fmla="*/ 907 h 3085"/>
                <a:gd name="T80" fmla="*/ 0 w 3087"/>
                <a:gd name="T81" fmla="*/ 687 h 3085"/>
                <a:gd name="T82" fmla="*/ 18 w 3087"/>
                <a:gd name="T83" fmla="*/ 523 h 3085"/>
                <a:gd name="T84" fmla="*/ 73 w 3087"/>
                <a:gd name="T85" fmla="*/ 404 h 3085"/>
                <a:gd name="T86" fmla="*/ 217 w 3087"/>
                <a:gd name="T87" fmla="*/ 251 h 3085"/>
                <a:gd name="T88" fmla="*/ 420 w 3087"/>
                <a:gd name="T89" fmla="*/ 53 h 3085"/>
                <a:gd name="T90" fmla="*/ 529 w 3087"/>
                <a:gd name="T91" fmla="*/ 3 h 3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87" h="3085">
                  <a:moveTo>
                    <a:pt x="566" y="0"/>
                  </a:moveTo>
                  <a:lnTo>
                    <a:pt x="604" y="3"/>
                  </a:lnTo>
                  <a:lnTo>
                    <a:pt x="641" y="14"/>
                  </a:lnTo>
                  <a:lnTo>
                    <a:pt x="678" y="29"/>
                  </a:lnTo>
                  <a:lnTo>
                    <a:pt x="713" y="52"/>
                  </a:lnTo>
                  <a:lnTo>
                    <a:pt x="747" y="82"/>
                  </a:lnTo>
                  <a:lnTo>
                    <a:pt x="850" y="184"/>
                  </a:lnTo>
                  <a:lnTo>
                    <a:pt x="952" y="287"/>
                  </a:lnTo>
                  <a:lnTo>
                    <a:pt x="1052" y="385"/>
                  </a:lnTo>
                  <a:lnTo>
                    <a:pt x="1150" y="485"/>
                  </a:lnTo>
                  <a:lnTo>
                    <a:pt x="1183" y="521"/>
                  </a:lnTo>
                  <a:lnTo>
                    <a:pt x="1206" y="558"/>
                  </a:lnTo>
                  <a:lnTo>
                    <a:pt x="1224" y="595"/>
                  </a:lnTo>
                  <a:lnTo>
                    <a:pt x="1235" y="632"/>
                  </a:lnTo>
                  <a:lnTo>
                    <a:pt x="1238" y="671"/>
                  </a:lnTo>
                  <a:lnTo>
                    <a:pt x="1235" y="708"/>
                  </a:lnTo>
                  <a:lnTo>
                    <a:pt x="1224" y="746"/>
                  </a:lnTo>
                  <a:lnTo>
                    <a:pt x="1206" y="783"/>
                  </a:lnTo>
                  <a:lnTo>
                    <a:pt x="1183" y="819"/>
                  </a:lnTo>
                  <a:lnTo>
                    <a:pt x="1151" y="855"/>
                  </a:lnTo>
                  <a:lnTo>
                    <a:pt x="1027" y="980"/>
                  </a:lnTo>
                  <a:lnTo>
                    <a:pt x="901" y="1105"/>
                  </a:lnTo>
                  <a:lnTo>
                    <a:pt x="891" y="1117"/>
                  </a:lnTo>
                  <a:lnTo>
                    <a:pt x="884" y="1130"/>
                  </a:lnTo>
                  <a:lnTo>
                    <a:pt x="881" y="1142"/>
                  </a:lnTo>
                  <a:lnTo>
                    <a:pt x="883" y="1156"/>
                  </a:lnTo>
                  <a:lnTo>
                    <a:pt x="888" y="1171"/>
                  </a:lnTo>
                  <a:lnTo>
                    <a:pt x="919" y="1237"/>
                  </a:lnTo>
                  <a:lnTo>
                    <a:pt x="952" y="1300"/>
                  </a:lnTo>
                  <a:lnTo>
                    <a:pt x="989" y="1361"/>
                  </a:lnTo>
                  <a:lnTo>
                    <a:pt x="1029" y="1420"/>
                  </a:lnTo>
                  <a:lnTo>
                    <a:pt x="1070" y="1478"/>
                  </a:lnTo>
                  <a:lnTo>
                    <a:pt x="1115" y="1534"/>
                  </a:lnTo>
                  <a:lnTo>
                    <a:pt x="1185" y="1617"/>
                  </a:lnTo>
                  <a:lnTo>
                    <a:pt x="1256" y="1697"/>
                  </a:lnTo>
                  <a:lnTo>
                    <a:pt x="1330" y="1773"/>
                  </a:lnTo>
                  <a:lnTo>
                    <a:pt x="1408" y="1847"/>
                  </a:lnTo>
                  <a:lnTo>
                    <a:pt x="1488" y="1918"/>
                  </a:lnTo>
                  <a:lnTo>
                    <a:pt x="1571" y="1985"/>
                  </a:lnTo>
                  <a:lnTo>
                    <a:pt x="1657" y="2050"/>
                  </a:lnTo>
                  <a:lnTo>
                    <a:pt x="1748" y="2109"/>
                  </a:lnTo>
                  <a:lnTo>
                    <a:pt x="1788" y="2133"/>
                  </a:lnTo>
                  <a:lnTo>
                    <a:pt x="1830" y="2153"/>
                  </a:lnTo>
                  <a:lnTo>
                    <a:pt x="1872" y="2174"/>
                  </a:lnTo>
                  <a:lnTo>
                    <a:pt x="1913" y="2196"/>
                  </a:lnTo>
                  <a:lnTo>
                    <a:pt x="1929" y="2202"/>
                  </a:lnTo>
                  <a:lnTo>
                    <a:pt x="1943" y="2204"/>
                  </a:lnTo>
                  <a:lnTo>
                    <a:pt x="1957" y="2202"/>
                  </a:lnTo>
                  <a:lnTo>
                    <a:pt x="1969" y="2195"/>
                  </a:lnTo>
                  <a:lnTo>
                    <a:pt x="1983" y="2182"/>
                  </a:lnTo>
                  <a:lnTo>
                    <a:pt x="2108" y="2056"/>
                  </a:lnTo>
                  <a:lnTo>
                    <a:pt x="2235" y="1930"/>
                  </a:lnTo>
                  <a:lnTo>
                    <a:pt x="2266" y="1903"/>
                  </a:lnTo>
                  <a:lnTo>
                    <a:pt x="2298" y="1881"/>
                  </a:lnTo>
                  <a:lnTo>
                    <a:pt x="2331" y="1865"/>
                  </a:lnTo>
                  <a:lnTo>
                    <a:pt x="2365" y="1853"/>
                  </a:lnTo>
                  <a:lnTo>
                    <a:pt x="2398" y="1848"/>
                  </a:lnTo>
                  <a:lnTo>
                    <a:pt x="2433" y="1848"/>
                  </a:lnTo>
                  <a:lnTo>
                    <a:pt x="2467" y="1853"/>
                  </a:lnTo>
                  <a:lnTo>
                    <a:pt x="2500" y="1865"/>
                  </a:lnTo>
                  <a:lnTo>
                    <a:pt x="2534" y="1881"/>
                  </a:lnTo>
                  <a:lnTo>
                    <a:pt x="2566" y="1903"/>
                  </a:lnTo>
                  <a:lnTo>
                    <a:pt x="2597" y="1930"/>
                  </a:lnTo>
                  <a:lnTo>
                    <a:pt x="2801" y="2133"/>
                  </a:lnTo>
                  <a:lnTo>
                    <a:pt x="3003" y="2335"/>
                  </a:lnTo>
                  <a:lnTo>
                    <a:pt x="3031" y="2367"/>
                  </a:lnTo>
                  <a:lnTo>
                    <a:pt x="3054" y="2399"/>
                  </a:lnTo>
                  <a:lnTo>
                    <a:pt x="3071" y="2434"/>
                  </a:lnTo>
                  <a:lnTo>
                    <a:pt x="3081" y="2467"/>
                  </a:lnTo>
                  <a:lnTo>
                    <a:pt x="3087" y="2501"/>
                  </a:lnTo>
                  <a:lnTo>
                    <a:pt x="3087" y="2536"/>
                  </a:lnTo>
                  <a:lnTo>
                    <a:pt x="3081" y="2571"/>
                  </a:lnTo>
                  <a:lnTo>
                    <a:pt x="3070" y="2605"/>
                  </a:lnTo>
                  <a:lnTo>
                    <a:pt x="3053" y="2638"/>
                  </a:lnTo>
                  <a:lnTo>
                    <a:pt x="3030" y="2671"/>
                  </a:lnTo>
                  <a:lnTo>
                    <a:pt x="3002" y="2704"/>
                  </a:lnTo>
                  <a:lnTo>
                    <a:pt x="2944" y="2761"/>
                  </a:lnTo>
                  <a:lnTo>
                    <a:pt x="2885" y="2818"/>
                  </a:lnTo>
                  <a:lnTo>
                    <a:pt x="2827" y="2876"/>
                  </a:lnTo>
                  <a:lnTo>
                    <a:pt x="2772" y="2935"/>
                  </a:lnTo>
                  <a:lnTo>
                    <a:pt x="2735" y="2973"/>
                  </a:lnTo>
                  <a:lnTo>
                    <a:pt x="2697" y="3003"/>
                  </a:lnTo>
                  <a:lnTo>
                    <a:pt x="2656" y="3029"/>
                  </a:lnTo>
                  <a:lnTo>
                    <a:pt x="2615" y="3049"/>
                  </a:lnTo>
                  <a:lnTo>
                    <a:pt x="2571" y="3065"/>
                  </a:lnTo>
                  <a:lnTo>
                    <a:pt x="2526" y="3075"/>
                  </a:lnTo>
                  <a:lnTo>
                    <a:pt x="2479" y="3083"/>
                  </a:lnTo>
                  <a:lnTo>
                    <a:pt x="2431" y="3085"/>
                  </a:lnTo>
                  <a:lnTo>
                    <a:pt x="2381" y="3084"/>
                  </a:lnTo>
                  <a:lnTo>
                    <a:pt x="2299" y="3076"/>
                  </a:lnTo>
                  <a:lnTo>
                    <a:pt x="2219" y="3064"/>
                  </a:lnTo>
                  <a:lnTo>
                    <a:pt x="2139" y="3046"/>
                  </a:lnTo>
                  <a:lnTo>
                    <a:pt x="2062" y="3025"/>
                  </a:lnTo>
                  <a:lnTo>
                    <a:pt x="1985" y="3000"/>
                  </a:lnTo>
                  <a:lnTo>
                    <a:pt x="1909" y="2970"/>
                  </a:lnTo>
                  <a:lnTo>
                    <a:pt x="1834" y="2938"/>
                  </a:lnTo>
                  <a:lnTo>
                    <a:pt x="1760" y="2904"/>
                  </a:lnTo>
                  <a:lnTo>
                    <a:pt x="1643" y="2844"/>
                  </a:lnTo>
                  <a:lnTo>
                    <a:pt x="1529" y="2780"/>
                  </a:lnTo>
                  <a:lnTo>
                    <a:pt x="1418" y="2712"/>
                  </a:lnTo>
                  <a:lnTo>
                    <a:pt x="1310" y="2640"/>
                  </a:lnTo>
                  <a:lnTo>
                    <a:pt x="1205" y="2565"/>
                  </a:lnTo>
                  <a:lnTo>
                    <a:pt x="1104" y="2486"/>
                  </a:lnTo>
                  <a:lnTo>
                    <a:pt x="1005" y="2402"/>
                  </a:lnTo>
                  <a:lnTo>
                    <a:pt x="909" y="2314"/>
                  </a:lnTo>
                  <a:lnTo>
                    <a:pt x="817" y="2223"/>
                  </a:lnTo>
                  <a:lnTo>
                    <a:pt x="726" y="2127"/>
                  </a:lnTo>
                  <a:lnTo>
                    <a:pt x="640" y="2028"/>
                  </a:lnTo>
                  <a:lnTo>
                    <a:pt x="565" y="1935"/>
                  </a:lnTo>
                  <a:lnTo>
                    <a:pt x="493" y="1842"/>
                  </a:lnTo>
                  <a:lnTo>
                    <a:pt x="424" y="1745"/>
                  </a:lnTo>
                  <a:lnTo>
                    <a:pt x="358" y="1647"/>
                  </a:lnTo>
                  <a:lnTo>
                    <a:pt x="297" y="1546"/>
                  </a:lnTo>
                  <a:lnTo>
                    <a:pt x="240" y="1443"/>
                  </a:lnTo>
                  <a:lnTo>
                    <a:pt x="187" y="1337"/>
                  </a:lnTo>
                  <a:lnTo>
                    <a:pt x="138" y="1229"/>
                  </a:lnTo>
                  <a:lnTo>
                    <a:pt x="93" y="1118"/>
                  </a:lnTo>
                  <a:lnTo>
                    <a:pt x="69" y="1049"/>
                  </a:lnTo>
                  <a:lnTo>
                    <a:pt x="47" y="978"/>
                  </a:lnTo>
                  <a:lnTo>
                    <a:pt x="28" y="907"/>
                  </a:lnTo>
                  <a:lnTo>
                    <a:pt x="13" y="835"/>
                  </a:lnTo>
                  <a:lnTo>
                    <a:pt x="4" y="761"/>
                  </a:lnTo>
                  <a:lnTo>
                    <a:pt x="0" y="687"/>
                  </a:lnTo>
                  <a:lnTo>
                    <a:pt x="3" y="613"/>
                  </a:lnTo>
                  <a:lnTo>
                    <a:pt x="8" y="567"/>
                  </a:lnTo>
                  <a:lnTo>
                    <a:pt x="18" y="523"/>
                  </a:lnTo>
                  <a:lnTo>
                    <a:pt x="32" y="481"/>
                  </a:lnTo>
                  <a:lnTo>
                    <a:pt x="50" y="441"/>
                  </a:lnTo>
                  <a:lnTo>
                    <a:pt x="73" y="404"/>
                  </a:lnTo>
                  <a:lnTo>
                    <a:pt x="100" y="369"/>
                  </a:lnTo>
                  <a:lnTo>
                    <a:pt x="132" y="335"/>
                  </a:lnTo>
                  <a:lnTo>
                    <a:pt x="217" y="251"/>
                  </a:lnTo>
                  <a:lnTo>
                    <a:pt x="301" y="167"/>
                  </a:lnTo>
                  <a:lnTo>
                    <a:pt x="386" y="82"/>
                  </a:lnTo>
                  <a:lnTo>
                    <a:pt x="420" y="53"/>
                  </a:lnTo>
                  <a:lnTo>
                    <a:pt x="455" y="30"/>
                  </a:lnTo>
                  <a:lnTo>
                    <a:pt x="492" y="14"/>
                  </a:lnTo>
                  <a:lnTo>
                    <a:pt x="529" y="3"/>
                  </a:lnTo>
                  <a:lnTo>
                    <a:pt x="5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587"/>
            <p:cNvSpPr>
              <a:spLocks/>
            </p:cNvSpPr>
            <p:nvPr/>
          </p:nvSpPr>
          <p:spPr bwMode="auto">
            <a:xfrm>
              <a:off x="869" y="3522"/>
              <a:ext cx="172" cy="169"/>
            </a:xfrm>
            <a:custGeom>
              <a:avLst/>
              <a:gdLst>
                <a:gd name="T0" fmla="*/ 37 w 1033"/>
                <a:gd name="T1" fmla="*/ 0 h 1010"/>
                <a:gd name="T2" fmla="*/ 112 w 1033"/>
                <a:gd name="T3" fmla="*/ 14 h 1010"/>
                <a:gd name="T4" fmla="*/ 187 w 1033"/>
                <a:gd name="T5" fmla="*/ 31 h 1010"/>
                <a:gd name="T6" fmla="*/ 258 w 1033"/>
                <a:gd name="T7" fmla="*/ 53 h 1010"/>
                <a:gd name="T8" fmla="*/ 329 w 1033"/>
                <a:gd name="T9" fmla="*/ 80 h 1010"/>
                <a:gd name="T10" fmla="*/ 398 w 1033"/>
                <a:gd name="T11" fmla="*/ 112 h 1010"/>
                <a:gd name="T12" fmla="*/ 464 w 1033"/>
                <a:gd name="T13" fmla="*/ 148 h 1010"/>
                <a:gd name="T14" fmla="*/ 528 w 1033"/>
                <a:gd name="T15" fmla="*/ 188 h 1010"/>
                <a:gd name="T16" fmla="*/ 590 w 1033"/>
                <a:gd name="T17" fmla="*/ 233 h 1010"/>
                <a:gd name="T18" fmla="*/ 648 w 1033"/>
                <a:gd name="T19" fmla="*/ 281 h 1010"/>
                <a:gd name="T20" fmla="*/ 704 w 1033"/>
                <a:gd name="T21" fmla="*/ 333 h 1010"/>
                <a:gd name="T22" fmla="*/ 760 w 1033"/>
                <a:gd name="T23" fmla="*/ 393 h 1010"/>
                <a:gd name="T24" fmla="*/ 811 w 1033"/>
                <a:gd name="T25" fmla="*/ 455 h 1010"/>
                <a:gd name="T26" fmla="*/ 857 w 1033"/>
                <a:gd name="T27" fmla="*/ 521 h 1010"/>
                <a:gd name="T28" fmla="*/ 899 w 1033"/>
                <a:gd name="T29" fmla="*/ 589 h 1010"/>
                <a:gd name="T30" fmla="*/ 936 w 1033"/>
                <a:gd name="T31" fmla="*/ 659 h 1010"/>
                <a:gd name="T32" fmla="*/ 967 w 1033"/>
                <a:gd name="T33" fmla="*/ 733 h 1010"/>
                <a:gd name="T34" fmla="*/ 994 w 1033"/>
                <a:gd name="T35" fmla="*/ 809 h 1010"/>
                <a:gd name="T36" fmla="*/ 1016 w 1033"/>
                <a:gd name="T37" fmla="*/ 886 h 1010"/>
                <a:gd name="T38" fmla="*/ 1033 w 1033"/>
                <a:gd name="T39" fmla="*/ 966 h 1010"/>
                <a:gd name="T40" fmla="*/ 770 w 1033"/>
                <a:gd name="T41" fmla="*/ 1010 h 1010"/>
                <a:gd name="T42" fmla="*/ 755 w 1033"/>
                <a:gd name="T43" fmla="*/ 941 h 1010"/>
                <a:gd name="T44" fmla="*/ 735 w 1033"/>
                <a:gd name="T45" fmla="*/ 874 h 1010"/>
                <a:gd name="T46" fmla="*/ 712 w 1033"/>
                <a:gd name="T47" fmla="*/ 809 h 1010"/>
                <a:gd name="T48" fmla="*/ 681 w 1033"/>
                <a:gd name="T49" fmla="*/ 747 h 1010"/>
                <a:gd name="T50" fmla="*/ 647 w 1033"/>
                <a:gd name="T51" fmla="*/ 685 h 1010"/>
                <a:gd name="T52" fmla="*/ 609 w 1033"/>
                <a:gd name="T53" fmla="*/ 628 h 1010"/>
                <a:gd name="T54" fmla="*/ 565 w 1033"/>
                <a:gd name="T55" fmla="*/ 573 h 1010"/>
                <a:gd name="T56" fmla="*/ 517 w 1033"/>
                <a:gd name="T57" fmla="*/ 521 h 1010"/>
                <a:gd name="T58" fmla="*/ 468 w 1033"/>
                <a:gd name="T59" fmla="*/ 477 h 1010"/>
                <a:gd name="T60" fmla="*/ 417 w 1033"/>
                <a:gd name="T61" fmla="*/ 435 h 1010"/>
                <a:gd name="T62" fmla="*/ 363 w 1033"/>
                <a:gd name="T63" fmla="*/ 398 h 1010"/>
                <a:gd name="T64" fmla="*/ 308 w 1033"/>
                <a:gd name="T65" fmla="*/ 366 h 1010"/>
                <a:gd name="T66" fmla="*/ 250 w 1033"/>
                <a:gd name="T67" fmla="*/ 337 h 1010"/>
                <a:gd name="T68" fmla="*/ 190 w 1033"/>
                <a:gd name="T69" fmla="*/ 312 h 1010"/>
                <a:gd name="T70" fmla="*/ 129 w 1033"/>
                <a:gd name="T71" fmla="*/ 291 h 1010"/>
                <a:gd name="T72" fmla="*/ 64 w 1033"/>
                <a:gd name="T73" fmla="*/ 275 h 1010"/>
                <a:gd name="T74" fmla="*/ 0 w 1033"/>
                <a:gd name="T75" fmla="*/ 264 h 1010"/>
                <a:gd name="T76" fmla="*/ 37 w 1033"/>
                <a:gd name="T77" fmla="*/ 0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33" h="1010">
                  <a:moveTo>
                    <a:pt x="37" y="0"/>
                  </a:moveTo>
                  <a:lnTo>
                    <a:pt x="112" y="14"/>
                  </a:lnTo>
                  <a:lnTo>
                    <a:pt x="187" y="31"/>
                  </a:lnTo>
                  <a:lnTo>
                    <a:pt x="258" y="53"/>
                  </a:lnTo>
                  <a:lnTo>
                    <a:pt x="329" y="80"/>
                  </a:lnTo>
                  <a:lnTo>
                    <a:pt x="398" y="112"/>
                  </a:lnTo>
                  <a:lnTo>
                    <a:pt x="464" y="148"/>
                  </a:lnTo>
                  <a:lnTo>
                    <a:pt x="528" y="188"/>
                  </a:lnTo>
                  <a:lnTo>
                    <a:pt x="590" y="233"/>
                  </a:lnTo>
                  <a:lnTo>
                    <a:pt x="648" y="281"/>
                  </a:lnTo>
                  <a:lnTo>
                    <a:pt x="704" y="333"/>
                  </a:lnTo>
                  <a:lnTo>
                    <a:pt x="760" y="393"/>
                  </a:lnTo>
                  <a:lnTo>
                    <a:pt x="811" y="455"/>
                  </a:lnTo>
                  <a:lnTo>
                    <a:pt x="857" y="521"/>
                  </a:lnTo>
                  <a:lnTo>
                    <a:pt x="899" y="589"/>
                  </a:lnTo>
                  <a:lnTo>
                    <a:pt x="936" y="659"/>
                  </a:lnTo>
                  <a:lnTo>
                    <a:pt x="967" y="733"/>
                  </a:lnTo>
                  <a:lnTo>
                    <a:pt x="994" y="809"/>
                  </a:lnTo>
                  <a:lnTo>
                    <a:pt x="1016" y="886"/>
                  </a:lnTo>
                  <a:lnTo>
                    <a:pt x="1033" y="966"/>
                  </a:lnTo>
                  <a:lnTo>
                    <a:pt x="770" y="1010"/>
                  </a:lnTo>
                  <a:lnTo>
                    <a:pt x="755" y="941"/>
                  </a:lnTo>
                  <a:lnTo>
                    <a:pt x="735" y="874"/>
                  </a:lnTo>
                  <a:lnTo>
                    <a:pt x="712" y="809"/>
                  </a:lnTo>
                  <a:lnTo>
                    <a:pt x="681" y="747"/>
                  </a:lnTo>
                  <a:lnTo>
                    <a:pt x="647" y="685"/>
                  </a:lnTo>
                  <a:lnTo>
                    <a:pt x="609" y="628"/>
                  </a:lnTo>
                  <a:lnTo>
                    <a:pt x="565" y="573"/>
                  </a:lnTo>
                  <a:lnTo>
                    <a:pt x="517" y="521"/>
                  </a:lnTo>
                  <a:lnTo>
                    <a:pt x="468" y="477"/>
                  </a:lnTo>
                  <a:lnTo>
                    <a:pt x="417" y="435"/>
                  </a:lnTo>
                  <a:lnTo>
                    <a:pt x="363" y="398"/>
                  </a:lnTo>
                  <a:lnTo>
                    <a:pt x="308" y="366"/>
                  </a:lnTo>
                  <a:lnTo>
                    <a:pt x="250" y="337"/>
                  </a:lnTo>
                  <a:lnTo>
                    <a:pt x="190" y="312"/>
                  </a:lnTo>
                  <a:lnTo>
                    <a:pt x="129" y="291"/>
                  </a:lnTo>
                  <a:lnTo>
                    <a:pt x="64" y="275"/>
                  </a:lnTo>
                  <a:lnTo>
                    <a:pt x="0" y="264"/>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588"/>
            <p:cNvSpPr>
              <a:spLocks/>
            </p:cNvSpPr>
            <p:nvPr/>
          </p:nvSpPr>
          <p:spPr bwMode="auto">
            <a:xfrm>
              <a:off x="875" y="3409"/>
              <a:ext cx="281" cy="274"/>
            </a:xfrm>
            <a:custGeom>
              <a:avLst/>
              <a:gdLst>
                <a:gd name="T0" fmla="*/ 36 w 1690"/>
                <a:gd name="T1" fmla="*/ 0 h 1646"/>
                <a:gd name="T2" fmla="*/ 141 w 1690"/>
                <a:gd name="T3" fmla="*/ 18 h 1646"/>
                <a:gd name="T4" fmla="*/ 244 w 1690"/>
                <a:gd name="T5" fmla="*/ 41 h 1646"/>
                <a:gd name="T6" fmla="*/ 345 w 1690"/>
                <a:gd name="T7" fmla="*/ 69 h 1646"/>
                <a:gd name="T8" fmla="*/ 445 w 1690"/>
                <a:gd name="T9" fmla="*/ 102 h 1646"/>
                <a:gd name="T10" fmla="*/ 541 w 1690"/>
                <a:gd name="T11" fmla="*/ 140 h 1646"/>
                <a:gd name="T12" fmla="*/ 636 w 1690"/>
                <a:gd name="T13" fmla="*/ 185 h 1646"/>
                <a:gd name="T14" fmla="*/ 728 w 1690"/>
                <a:gd name="T15" fmla="*/ 234 h 1646"/>
                <a:gd name="T16" fmla="*/ 817 w 1690"/>
                <a:gd name="T17" fmla="*/ 288 h 1646"/>
                <a:gd name="T18" fmla="*/ 904 w 1690"/>
                <a:gd name="T19" fmla="*/ 347 h 1646"/>
                <a:gd name="T20" fmla="*/ 987 w 1690"/>
                <a:gd name="T21" fmla="*/ 410 h 1646"/>
                <a:gd name="T22" fmla="*/ 1068 w 1690"/>
                <a:gd name="T23" fmla="*/ 479 h 1646"/>
                <a:gd name="T24" fmla="*/ 1145 w 1690"/>
                <a:gd name="T25" fmla="*/ 553 h 1646"/>
                <a:gd name="T26" fmla="*/ 1215 w 1690"/>
                <a:gd name="T27" fmla="*/ 626 h 1646"/>
                <a:gd name="T28" fmla="*/ 1280 w 1690"/>
                <a:gd name="T29" fmla="*/ 702 h 1646"/>
                <a:gd name="T30" fmla="*/ 1342 w 1690"/>
                <a:gd name="T31" fmla="*/ 781 h 1646"/>
                <a:gd name="T32" fmla="*/ 1399 w 1690"/>
                <a:gd name="T33" fmla="*/ 863 h 1646"/>
                <a:gd name="T34" fmla="*/ 1451 w 1690"/>
                <a:gd name="T35" fmla="*/ 948 h 1646"/>
                <a:gd name="T36" fmla="*/ 1500 w 1690"/>
                <a:gd name="T37" fmla="*/ 1035 h 1646"/>
                <a:gd name="T38" fmla="*/ 1543 w 1690"/>
                <a:gd name="T39" fmla="*/ 1125 h 1646"/>
                <a:gd name="T40" fmla="*/ 1582 w 1690"/>
                <a:gd name="T41" fmla="*/ 1216 h 1646"/>
                <a:gd name="T42" fmla="*/ 1616 w 1690"/>
                <a:gd name="T43" fmla="*/ 1309 h 1646"/>
                <a:gd name="T44" fmla="*/ 1645 w 1690"/>
                <a:gd name="T45" fmla="*/ 1405 h 1646"/>
                <a:gd name="T46" fmla="*/ 1670 w 1690"/>
                <a:gd name="T47" fmla="*/ 1502 h 1646"/>
                <a:gd name="T48" fmla="*/ 1690 w 1690"/>
                <a:gd name="T49" fmla="*/ 1601 h 1646"/>
                <a:gd name="T50" fmla="*/ 1428 w 1690"/>
                <a:gd name="T51" fmla="*/ 1646 h 1646"/>
                <a:gd name="T52" fmla="*/ 1409 w 1690"/>
                <a:gd name="T53" fmla="*/ 1552 h 1646"/>
                <a:gd name="T54" fmla="*/ 1385 w 1690"/>
                <a:gd name="T55" fmla="*/ 1461 h 1646"/>
                <a:gd name="T56" fmla="*/ 1356 w 1690"/>
                <a:gd name="T57" fmla="*/ 1372 h 1646"/>
                <a:gd name="T58" fmla="*/ 1323 w 1690"/>
                <a:gd name="T59" fmla="*/ 1284 h 1646"/>
                <a:gd name="T60" fmla="*/ 1285 w 1690"/>
                <a:gd name="T61" fmla="*/ 1198 h 1646"/>
                <a:gd name="T62" fmla="*/ 1241 w 1690"/>
                <a:gd name="T63" fmla="*/ 1115 h 1646"/>
                <a:gd name="T64" fmla="*/ 1193 w 1690"/>
                <a:gd name="T65" fmla="*/ 1035 h 1646"/>
                <a:gd name="T66" fmla="*/ 1141 w 1690"/>
                <a:gd name="T67" fmla="*/ 957 h 1646"/>
                <a:gd name="T68" fmla="*/ 1084 w 1690"/>
                <a:gd name="T69" fmla="*/ 882 h 1646"/>
                <a:gd name="T70" fmla="*/ 1024 w 1690"/>
                <a:gd name="T71" fmla="*/ 810 h 1646"/>
                <a:gd name="T72" fmla="*/ 957 w 1690"/>
                <a:gd name="T73" fmla="*/ 740 h 1646"/>
                <a:gd name="T74" fmla="*/ 884 w 1690"/>
                <a:gd name="T75" fmla="*/ 672 h 1646"/>
                <a:gd name="T76" fmla="*/ 809 w 1690"/>
                <a:gd name="T77" fmla="*/ 608 h 1646"/>
                <a:gd name="T78" fmla="*/ 729 w 1690"/>
                <a:gd name="T79" fmla="*/ 549 h 1646"/>
                <a:gd name="T80" fmla="*/ 646 w 1690"/>
                <a:gd name="T81" fmla="*/ 494 h 1646"/>
                <a:gd name="T82" fmla="*/ 561 w 1690"/>
                <a:gd name="T83" fmla="*/ 446 h 1646"/>
                <a:gd name="T84" fmla="*/ 473 w 1690"/>
                <a:gd name="T85" fmla="*/ 402 h 1646"/>
                <a:gd name="T86" fmla="*/ 382 w 1690"/>
                <a:gd name="T87" fmla="*/ 364 h 1646"/>
                <a:gd name="T88" fmla="*/ 290 w 1690"/>
                <a:gd name="T89" fmla="*/ 330 h 1646"/>
                <a:gd name="T90" fmla="*/ 195 w 1690"/>
                <a:gd name="T91" fmla="*/ 302 h 1646"/>
                <a:gd name="T92" fmla="*/ 99 w 1690"/>
                <a:gd name="T93" fmla="*/ 281 h 1646"/>
                <a:gd name="T94" fmla="*/ 0 w 1690"/>
                <a:gd name="T95" fmla="*/ 263 h 1646"/>
                <a:gd name="T96" fmla="*/ 36 w 1690"/>
                <a:gd name="T97"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0" h="1646">
                  <a:moveTo>
                    <a:pt x="36" y="0"/>
                  </a:moveTo>
                  <a:lnTo>
                    <a:pt x="141" y="18"/>
                  </a:lnTo>
                  <a:lnTo>
                    <a:pt x="244" y="41"/>
                  </a:lnTo>
                  <a:lnTo>
                    <a:pt x="345" y="69"/>
                  </a:lnTo>
                  <a:lnTo>
                    <a:pt x="445" y="102"/>
                  </a:lnTo>
                  <a:lnTo>
                    <a:pt x="541" y="140"/>
                  </a:lnTo>
                  <a:lnTo>
                    <a:pt x="636" y="185"/>
                  </a:lnTo>
                  <a:lnTo>
                    <a:pt x="728" y="234"/>
                  </a:lnTo>
                  <a:lnTo>
                    <a:pt x="817" y="288"/>
                  </a:lnTo>
                  <a:lnTo>
                    <a:pt x="904" y="347"/>
                  </a:lnTo>
                  <a:lnTo>
                    <a:pt x="987" y="410"/>
                  </a:lnTo>
                  <a:lnTo>
                    <a:pt x="1068" y="479"/>
                  </a:lnTo>
                  <a:lnTo>
                    <a:pt x="1145" y="553"/>
                  </a:lnTo>
                  <a:lnTo>
                    <a:pt x="1215" y="626"/>
                  </a:lnTo>
                  <a:lnTo>
                    <a:pt x="1280" y="702"/>
                  </a:lnTo>
                  <a:lnTo>
                    <a:pt x="1342" y="781"/>
                  </a:lnTo>
                  <a:lnTo>
                    <a:pt x="1399" y="863"/>
                  </a:lnTo>
                  <a:lnTo>
                    <a:pt x="1451" y="948"/>
                  </a:lnTo>
                  <a:lnTo>
                    <a:pt x="1500" y="1035"/>
                  </a:lnTo>
                  <a:lnTo>
                    <a:pt x="1543" y="1125"/>
                  </a:lnTo>
                  <a:lnTo>
                    <a:pt x="1582" y="1216"/>
                  </a:lnTo>
                  <a:lnTo>
                    <a:pt x="1616" y="1309"/>
                  </a:lnTo>
                  <a:lnTo>
                    <a:pt x="1645" y="1405"/>
                  </a:lnTo>
                  <a:lnTo>
                    <a:pt x="1670" y="1502"/>
                  </a:lnTo>
                  <a:lnTo>
                    <a:pt x="1690" y="1601"/>
                  </a:lnTo>
                  <a:lnTo>
                    <a:pt x="1428" y="1646"/>
                  </a:lnTo>
                  <a:lnTo>
                    <a:pt x="1409" y="1552"/>
                  </a:lnTo>
                  <a:lnTo>
                    <a:pt x="1385" y="1461"/>
                  </a:lnTo>
                  <a:lnTo>
                    <a:pt x="1356" y="1372"/>
                  </a:lnTo>
                  <a:lnTo>
                    <a:pt x="1323" y="1284"/>
                  </a:lnTo>
                  <a:lnTo>
                    <a:pt x="1285" y="1198"/>
                  </a:lnTo>
                  <a:lnTo>
                    <a:pt x="1241" y="1115"/>
                  </a:lnTo>
                  <a:lnTo>
                    <a:pt x="1193" y="1035"/>
                  </a:lnTo>
                  <a:lnTo>
                    <a:pt x="1141" y="957"/>
                  </a:lnTo>
                  <a:lnTo>
                    <a:pt x="1084" y="882"/>
                  </a:lnTo>
                  <a:lnTo>
                    <a:pt x="1024" y="810"/>
                  </a:lnTo>
                  <a:lnTo>
                    <a:pt x="957" y="740"/>
                  </a:lnTo>
                  <a:lnTo>
                    <a:pt x="884" y="672"/>
                  </a:lnTo>
                  <a:lnTo>
                    <a:pt x="809" y="608"/>
                  </a:lnTo>
                  <a:lnTo>
                    <a:pt x="729" y="549"/>
                  </a:lnTo>
                  <a:lnTo>
                    <a:pt x="646" y="494"/>
                  </a:lnTo>
                  <a:lnTo>
                    <a:pt x="561" y="446"/>
                  </a:lnTo>
                  <a:lnTo>
                    <a:pt x="473" y="402"/>
                  </a:lnTo>
                  <a:lnTo>
                    <a:pt x="382" y="364"/>
                  </a:lnTo>
                  <a:lnTo>
                    <a:pt x="290" y="330"/>
                  </a:lnTo>
                  <a:lnTo>
                    <a:pt x="195" y="302"/>
                  </a:lnTo>
                  <a:lnTo>
                    <a:pt x="99" y="281"/>
                  </a:lnTo>
                  <a:lnTo>
                    <a:pt x="0" y="263"/>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xmlns="" id="{F9DB82F6-4CDA-49EA-A298-C9ACEEBAA133}"/>
              </a:ext>
            </a:extLst>
          </p:cNvPr>
          <p:cNvSpPr txBox="1"/>
          <p:nvPr/>
        </p:nvSpPr>
        <p:spPr>
          <a:xfrm>
            <a:off x="6913668" y="3699375"/>
            <a:ext cx="2980057" cy="461665"/>
          </a:xfrm>
          <a:prstGeom prst="rect">
            <a:avLst/>
          </a:prstGeom>
          <a:noFill/>
        </p:spPr>
        <p:txBody>
          <a:bodyPr wrap="square" rtlCol="0">
            <a:spAutoFit/>
          </a:bodyPr>
          <a:lstStyle/>
          <a:p>
            <a:pPr algn="just" rtl="1"/>
            <a:r>
              <a:rPr lang="fa-IR" altLang="ko-KR" sz="2400" b="1" spc="30" dirty="0" smtClean="0">
                <a:solidFill>
                  <a:prstClr val="black"/>
                </a:solidFill>
                <a:latin typeface="Times New Roman" panose="02020603050405020304" pitchFamily="18" charset="0"/>
                <a:ea typeface="Times New Roman" panose="02020603050405020304" pitchFamily="18" charset="0"/>
                <a:cs typeface="B Nazanin" panose="00000400000000000000" pitchFamily="2" charset="-78"/>
              </a:rPr>
              <a:t>41134-021 داخلی 614</a:t>
            </a:r>
            <a:endParaRPr lang="ko-KR" altLang="en-US" sz="2400" b="1" spc="30" dirty="0">
              <a:solidFill>
                <a:prstClr val="black"/>
              </a:solidFill>
              <a:latin typeface="Times New Roman" panose="02020603050405020304" pitchFamily="18" charset="0"/>
              <a:ea typeface="Times New Roman" panose="02020603050405020304" pitchFamily="18" charset="0"/>
              <a:cs typeface="B Nazanin" panose="00000400000000000000" pitchFamily="2" charset="-78"/>
            </a:endParaRPr>
          </a:p>
        </p:txBody>
      </p:sp>
      <p:sp>
        <p:nvSpPr>
          <p:cNvPr id="16" name="TextBox 15">
            <a:extLst>
              <a:ext uri="{FF2B5EF4-FFF2-40B4-BE49-F238E27FC236}">
                <a16:creationId xmlns:a16="http://schemas.microsoft.com/office/drawing/2014/main" xmlns="" id="{F9DB82F6-4CDA-49EA-A298-C9ACEEBAA133}"/>
              </a:ext>
            </a:extLst>
          </p:cNvPr>
          <p:cNvSpPr txBox="1"/>
          <p:nvPr/>
        </p:nvSpPr>
        <p:spPr>
          <a:xfrm>
            <a:off x="6629401" y="4437096"/>
            <a:ext cx="3264324" cy="400110"/>
          </a:xfrm>
          <a:prstGeom prst="rect">
            <a:avLst/>
          </a:prstGeom>
          <a:noFill/>
        </p:spPr>
        <p:txBody>
          <a:bodyPr wrap="square" rtlCol="0">
            <a:spAutoFit/>
          </a:bodyPr>
          <a:lstStyle/>
          <a:p>
            <a:pPr algn="just" rtl="1"/>
            <a:r>
              <a:rPr lang="en-US" altLang="ko-KR" sz="2000" b="1" spc="30" dirty="0" smtClean="0">
                <a:solidFill>
                  <a:prstClr val="black"/>
                </a:solidFill>
                <a:latin typeface="Times New Roman" panose="02020603050405020304" pitchFamily="18" charset="0"/>
                <a:ea typeface="Times New Roman" panose="02020603050405020304" pitchFamily="18" charset="0"/>
                <a:cs typeface="B Nazanin" panose="00000400000000000000" pitchFamily="2" charset="-78"/>
              </a:rPr>
              <a:t>workshopsci@vums.ac.ir</a:t>
            </a:r>
            <a:endParaRPr lang="ko-KR" altLang="en-US" sz="2000" b="1" spc="30" dirty="0">
              <a:solidFill>
                <a:prstClr val="black"/>
              </a:solidFill>
              <a:latin typeface="Times New Roman" panose="02020603050405020304" pitchFamily="18" charset="0"/>
              <a:ea typeface="Times New Roman" panose="02020603050405020304" pitchFamily="18" charset="0"/>
              <a:cs typeface="B Nazanin" panose="00000400000000000000" pitchFamily="2" charset="-78"/>
            </a:endParaRPr>
          </a:p>
        </p:txBody>
      </p:sp>
    </p:spTree>
    <p:extLst>
      <p:ext uri="{BB962C8B-B14F-4D97-AF65-F5344CB8AC3E}">
        <p14:creationId xmlns:p14="http://schemas.microsoft.com/office/powerpoint/2010/main" val="214006617"/>
      </p:ext>
    </p:extLst>
  </p:cSld>
  <p:clrMapOvr>
    <a:masterClrMapping/>
  </p:clrMapOvr>
  <p:transition spd="med">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AG_BACKING_FORM_KEY" val="15799752-\\file-server.etums.local\allusers$\معاونت آموزشی\دکتر میرمقتدایی\dr.pptx"/>
  <p:tag name="ARTICULATE_PRESENTER_VERSION" val="7"/>
  <p:tag name="ARTICULATE_USED_PAGE_ORIENTATION" val="1"/>
  <p:tag name="ARTICULATE_USED_PAGE_SIZE" val="7"/>
  <p:tag name="ARTICULATE_REFERENCE_ID" val="99b67112-20ac-4a46-93a8-c7843e3fbed8"/>
  <p:tag name="ARTICULATE_SLIDE_COUNT" val="11"/>
  <p:tag name="ARTICULATE_PROJECT_OPEN" val="0"/>
  <p:tag name="ISPRING_RESOURCE_PATHS_HASH_PRESENTER" val="be7658bc5c6fbd33a03311c4805ce77c2b7156e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41_Office Theme">
  <a:themeElements>
    <a:clrScheme name="Custom 1">
      <a:dk1>
        <a:sysClr val="windowText" lastClr="000000"/>
      </a:dk1>
      <a:lt1>
        <a:sysClr val="window" lastClr="FFFFFF"/>
      </a:lt1>
      <a:dk2>
        <a:srgbClr val="1F497D"/>
      </a:dk2>
      <a:lt2>
        <a:srgbClr val="EEECE1"/>
      </a:lt2>
      <a:accent1>
        <a:srgbClr val="0097AA"/>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tihad Aviation Group_CF_AE0224">
  <a:themeElements>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11820"/>
        </a:dk2>
        <a:lt2>
          <a:srgbClr val="FFFFFF"/>
        </a:lt2>
        <a:accent1>
          <a:srgbClr val="F2C664"/>
        </a:accent1>
        <a:accent2>
          <a:srgbClr val="BE788E"/>
        </a:accent2>
        <a:accent3>
          <a:srgbClr val="8A4258"/>
        </a:accent3>
        <a:accent4>
          <a:srgbClr val="311820"/>
        </a:accent4>
        <a:accent5>
          <a:srgbClr val="E8A811"/>
        </a:accent5>
        <a:accent6>
          <a:srgbClr val="808080"/>
        </a:accent6>
        <a:hlink>
          <a:srgbClr val="8A4258"/>
        </a:hlink>
        <a:folHlink>
          <a:srgbClr val="3118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tihad Aviation Group_CF_AE0224.potx" id="{D15E7A95-7415-47F1-8C1E-4B089085B7B8}" vid="{92E183D8-0F31-49CF-9C4C-AF572A94EA21}"/>
    </a:ext>
  </a:extLst>
</a:theme>
</file>

<file path=ppt/theme/theme4.xml><?xml version="1.0" encoding="utf-8"?>
<a:theme xmlns:a="http://schemas.openxmlformats.org/drawingml/2006/main" name="85_Office Theme">
  <a:themeElements>
    <a:clrScheme name="Custom 20">
      <a:dk1>
        <a:sysClr val="windowText" lastClr="000000"/>
      </a:dk1>
      <a:lt1>
        <a:sysClr val="window" lastClr="FFFFFF"/>
      </a:lt1>
      <a:dk2>
        <a:srgbClr val="FFFFFF"/>
      </a:dk2>
      <a:lt2>
        <a:srgbClr val="EEECE1"/>
      </a:lt2>
      <a:accent1>
        <a:srgbClr val="0070C0"/>
      </a:accent1>
      <a:accent2>
        <a:srgbClr val="0000FF"/>
      </a:accent2>
      <a:accent3>
        <a:srgbClr val="0058E9"/>
      </a:accent3>
      <a:accent4>
        <a:srgbClr val="791038"/>
      </a:accent4>
      <a:accent5>
        <a:srgbClr val="EF8F21"/>
      </a:accent5>
      <a:accent6>
        <a:srgbClr val="0090C4"/>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Contents Slide Master">
  <a:themeElements>
    <a:clrScheme name="2019-Medical">
      <a:dk1>
        <a:sysClr val="windowText" lastClr="000000"/>
      </a:dk1>
      <a:lt1>
        <a:sysClr val="window" lastClr="FFFFFF"/>
      </a:lt1>
      <a:dk2>
        <a:srgbClr val="44546A"/>
      </a:dk2>
      <a:lt2>
        <a:srgbClr val="E7E6E6"/>
      </a:lt2>
      <a:accent1>
        <a:srgbClr val="60BED4"/>
      </a:accent1>
      <a:accent2>
        <a:srgbClr val="8EDADA"/>
      </a:accent2>
      <a:accent3>
        <a:srgbClr val="AAAAAA"/>
      </a:accent3>
      <a:accent4>
        <a:srgbClr val="D4D4D4"/>
      </a:accent4>
      <a:accent5>
        <a:srgbClr val="60BED4"/>
      </a:accent5>
      <a:accent6>
        <a:srgbClr val="8EDADA"/>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02</TotalTime>
  <Words>428</Words>
  <Application>Microsoft Office PowerPoint</Application>
  <PresentationFormat>Custom</PresentationFormat>
  <Paragraphs>70</Paragraphs>
  <Slides>8</Slides>
  <Notes>2</Notes>
  <HiddenSlides>0</HiddenSlides>
  <MMClips>0</MMClips>
  <ScaleCrop>false</ScaleCrop>
  <HeadingPairs>
    <vt:vector size="8" baseType="variant">
      <vt:variant>
        <vt:lpstr>Fonts Used</vt:lpstr>
      </vt:variant>
      <vt:variant>
        <vt:i4>14</vt:i4>
      </vt:variant>
      <vt:variant>
        <vt:lpstr>Theme</vt:lpstr>
      </vt:variant>
      <vt:variant>
        <vt:i4>5</vt:i4>
      </vt:variant>
      <vt:variant>
        <vt:lpstr>Embedded OLE Servers</vt:lpstr>
      </vt:variant>
      <vt:variant>
        <vt:i4>1</vt:i4>
      </vt:variant>
      <vt:variant>
        <vt:lpstr>Slide Titles</vt:lpstr>
      </vt:variant>
      <vt:variant>
        <vt:i4>8</vt:i4>
      </vt:variant>
    </vt:vector>
  </HeadingPairs>
  <TitlesOfParts>
    <vt:vector size="28" baseType="lpstr">
      <vt:lpstr>Arial</vt:lpstr>
      <vt:lpstr>Open Sans</vt:lpstr>
      <vt:lpstr>Corbel</vt:lpstr>
      <vt:lpstr>Calibri</vt:lpstr>
      <vt:lpstr>B Yekan</vt:lpstr>
      <vt:lpstr>宋体</vt:lpstr>
      <vt:lpstr>Calibri Light</vt:lpstr>
      <vt:lpstr>Arial Unicode MS</vt:lpstr>
      <vt:lpstr>Lato Bold</vt:lpstr>
      <vt:lpstr>Times New Roman</vt:lpstr>
      <vt:lpstr>Wingdings</vt:lpstr>
      <vt:lpstr>B Nazanin</vt:lpstr>
      <vt:lpstr>Poppins</vt:lpstr>
      <vt:lpstr>Titillium</vt:lpstr>
      <vt:lpstr>Office Theme</vt:lpstr>
      <vt:lpstr>41_Office Theme</vt:lpstr>
      <vt:lpstr>Etihad Aviation Group_CF_AE0224</vt:lpstr>
      <vt:lpstr>85_Office Theme</vt:lpstr>
      <vt:lpstr>Contents Slide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l</dc:creator>
  <cp:lastModifiedBy>Sattari.Masoumeh</cp:lastModifiedBy>
  <cp:revision>1000</cp:revision>
  <dcterms:created xsi:type="dcterms:W3CDTF">2018-07-02T03:58:55Z</dcterms:created>
  <dcterms:modified xsi:type="dcterms:W3CDTF">2022-09-20T10:3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8CD7DA8-FEDB-4970-8BD5-FE4FBDA7BDEA</vt:lpwstr>
  </property>
  <property fmtid="{D5CDD505-2E9C-101B-9397-08002B2CF9AE}" pid="3" name="ArticulatePath">
    <vt:lpwstr>Checklist not include image</vt:lpwstr>
  </property>
  <property fmtid="{D5CDD505-2E9C-101B-9397-08002B2CF9AE}" pid="4" name="ArticulateProjectVersion">
    <vt:lpwstr>7</vt:lpwstr>
  </property>
  <property fmtid="{D5CDD505-2E9C-101B-9397-08002B2CF9AE}" pid="5" name="ArticulateUseProject">
    <vt:lpwstr>1</vt:lpwstr>
  </property>
  <property fmtid="{D5CDD505-2E9C-101B-9397-08002B2CF9AE}" pid="6" name="ArticulateProjectFull">
    <vt:lpwstr>\\file-server.etums.local\allusers$\معاونت آموزشی\دکتر میرمقتدایی\Dr.ppta</vt:lpwstr>
  </property>
</Properties>
</file>